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1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3681" r:id="rId2"/>
  </p:sldMasterIdLst>
  <p:notesMasterIdLst>
    <p:notesMasterId r:id="rId20"/>
  </p:notesMasterIdLst>
  <p:handoutMasterIdLst>
    <p:handoutMasterId r:id="rId21"/>
  </p:handoutMasterIdLst>
  <p:sldIdLst>
    <p:sldId id="256" r:id="rId3"/>
    <p:sldId id="532" r:id="rId4"/>
    <p:sldId id="499" r:id="rId5"/>
    <p:sldId id="524" r:id="rId6"/>
    <p:sldId id="507" r:id="rId7"/>
    <p:sldId id="525" r:id="rId8"/>
    <p:sldId id="527" r:id="rId9"/>
    <p:sldId id="529" r:id="rId10"/>
    <p:sldId id="530" r:id="rId11"/>
    <p:sldId id="531" r:id="rId12"/>
    <p:sldId id="514" r:id="rId13"/>
    <p:sldId id="506" r:id="rId14"/>
    <p:sldId id="521" r:id="rId15"/>
    <p:sldId id="516" r:id="rId16"/>
    <p:sldId id="517" r:id="rId17"/>
    <p:sldId id="518" r:id="rId18"/>
    <p:sldId id="523" r:id="rId19"/>
  </p:sldIdLst>
  <p:sldSz cx="12192000" cy="6858000"/>
  <p:notesSz cx="7315200" cy="9601200"/>
  <p:custDataLst>
    <p:tags r:id="rId22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9D9D28-1FD4-406F-8922-9160CAB20C5A}" v="447" dt="2026-07-11T18:38:34.925"/>
    <p1510:client id="{3D2E3F42-B5C2-45AC-BB5F-BDA7E25062E3}" v="365" dt="2026-07-11T20:08:38.698"/>
    <p1510:client id="{4A121745-E7B3-4231-B210-29EBB0163567}" v="439" dt="2026-07-11T17:09:39.6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6" autoAdjust="0"/>
    <p:restoredTop sz="95768" autoAdjust="0"/>
  </p:normalViewPr>
  <p:slideViewPr>
    <p:cSldViewPr snapToGrid="0">
      <p:cViewPr>
        <p:scale>
          <a:sx n="57" d="100"/>
          <a:sy n="57" d="100"/>
        </p:scale>
        <p:origin x="28" y="2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172"/>
    </p:cViewPr>
  </p:sorterViewPr>
  <p:notesViewPr>
    <p:cSldViewPr snapToGrid="0">
      <p:cViewPr varScale="1">
        <p:scale>
          <a:sx n="117" d="100"/>
          <a:sy n="117" d="100"/>
        </p:scale>
        <p:origin x="2064" y="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n Bleeker Pedersen" userId="34252400-a232-4440-8831-8cadcf57ce35" providerId="ADAL" clId="{5D18C0C2-102A-4970-B33C-1D15BE2F2270}"/>
    <pc:docChg chg="undo custSel addSld delSld modSld sldOrd addMainMaster modMainMaster addSection delSection">
      <pc:chgData name="Dann Bleeker Pedersen" userId="34252400-a232-4440-8831-8cadcf57ce35" providerId="ADAL" clId="{5D18C0C2-102A-4970-B33C-1D15BE2F2270}" dt="2026-07-11T20:10:00.822" v="4263"/>
      <pc:docMkLst>
        <pc:docMk/>
      </pc:docMkLst>
      <pc:sldChg chg="addSp modSp mod">
        <pc:chgData name="Dann Bleeker Pedersen" userId="34252400-a232-4440-8831-8cadcf57ce35" providerId="ADAL" clId="{5D18C0C2-102A-4970-B33C-1D15BE2F2270}" dt="2026-07-11T19:12:30.027" v="2991"/>
        <pc:sldMkLst>
          <pc:docMk/>
          <pc:sldMk cId="542153020" sldId="256"/>
        </pc:sldMkLst>
        <pc:spChg chg="mod">
          <ac:chgData name="Dann Bleeker Pedersen" userId="34252400-a232-4440-8831-8cadcf57ce35" providerId="ADAL" clId="{5D18C0C2-102A-4970-B33C-1D15BE2F2270}" dt="2026-07-11T16:57:46.011" v="15" actId="948"/>
          <ac:spMkLst>
            <pc:docMk/>
            <pc:sldMk cId="542153020" sldId="256"/>
            <ac:spMk id="5" creationId="{D4469AD6-8E34-4AA2-8874-827559293A16}"/>
          </ac:spMkLst>
        </pc:spChg>
        <pc:spChg chg="mod">
          <ac:chgData name="Dann Bleeker Pedersen" userId="34252400-a232-4440-8831-8cadcf57ce35" providerId="ADAL" clId="{5D18C0C2-102A-4970-B33C-1D15BE2F2270}" dt="2026-07-11T19:12:30.027" v="2991"/>
          <ac:spMkLst>
            <pc:docMk/>
            <pc:sldMk cId="542153020" sldId="256"/>
            <ac:spMk id="6" creationId="{A0F8534B-CCA8-4A2C-9A0E-A0613E69566D}"/>
          </ac:spMkLst>
        </pc:spChg>
        <pc:graphicFrameChg chg="mod">
          <ac:chgData name="Dann Bleeker Pedersen" userId="34252400-a232-4440-8831-8cadcf57ce35" providerId="ADAL" clId="{5D18C0C2-102A-4970-B33C-1D15BE2F2270}" dt="2026-07-11T18:38:34.163" v="2986"/>
          <ac:graphicFrameMkLst>
            <pc:docMk/>
            <pc:sldMk cId="542153020" sldId="256"/>
            <ac:graphicFrameMk id="2" creationId="{F2366485-B60E-424B-A5E8-D8D1745B0335}"/>
          </ac:graphicFrameMkLst>
        </pc:graphicFrameChg>
        <pc:graphicFrameChg chg="add mod">
          <ac:chgData name="Dann Bleeker Pedersen" userId="34252400-a232-4440-8831-8cadcf57ce35" providerId="ADAL" clId="{5D18C0C2-102A-4970-B33C-1D15BE2F2270}" dt="2026-07-11T17:40:13.626" v="1137"/>
          <ac:graphicFrameMkLst>
            <pc:docMk/>
            <pc:sldMk cId="542153020" sldId="256"/>
            <ac:graphicFrameMk id="4" creationId="{98B004FB-A66A-446C-95A9-38B7C1893205}"/>
          </ac:graphicFrameMkLst>
        </pc:graphicFrameChg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972625955" sldId="257"/>
        </pc:sldMkLst>
      </pc:sldChg>
      <pc:sldChg chg="del">
        <pc:chgData name="Dann Bleeker Pedersen" userId="34252400-a232-4440-8831-8cadcf57ce35" providerId="ADAL" clId="{5D18C0C2-102A-4970-B33C-1D15BE2F2270}" dt="2026-07-11T16:58:28.575" v="20" actId="47"/>
        <pc:sldMkLst>
          <pc:docMk/>
          <pc:sldMk cId="4274519734" sldId="34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943930463" sldId="351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1020716378" sldId="373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249430751" sldId="374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648339991" sldId="375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1768373809" sldId="376"/>
        </pc:sldMkLst>
      </pc:sldChg>
      <pc:sldChg chg="del">
        <pc:chgData name="Dann Bleeker Pedersen" userId="34252400-a232-4440-8831-8cadcf57ce35" providerId="ADAL" clId="{5D18C0C2-102A-4970-B33C-1D15BE2F2270}" dt="2026-07-11T17:10:45.074" v="1075"/>
        <pc:sldMkLst>
          <pc:docMk/>
          <pc:sldMk cId="1456019505" sldId="377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956736646" sldId="378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916233395" sldId="380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707316418" sldId="381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333139158" sldId="382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98151888" sldId="383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2687327010" sldId="386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867975369" sldId="387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102427887" sldId="388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400722627" sldId="45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003842811" sldId="460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296669683" sldId="477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064288170" sldId="478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875618433" sldId="47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867627673" sldId="481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993530815" sldId="482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254147672" sldId="483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164568350" sldId="484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149684693" sldId="485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769069759" sldId="486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4283483127" sldId="487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417831796" sldId="488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4246369197" sldId="48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95388432" sldId="490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896925349" sldId="492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550798905" sldId="493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160117428" sldId="494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864908037" sldId="495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641140078" sldId="496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862387344" sldId="497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4173200387" sldId="498"/>
        </pc:sldMkLst>
      </pc:sldChg>
      <pc:sldChg chg="addSp delSp modSp new mod modClrScheme chgLayout">
        <pc:chgData name="Dann Bleeker Pedersen" userId="34252400-a232-4440-8831-8cadcf57ce35" providerId="ADAL" clId="{5D18C0C2-102A-4970-B33C-1D15BE2F2270}" dt="2026-07-11T19:54:48.331" v="3002" actId="14734"/>
        <pc:sldMkLst>
          <pc:docMk/>
          <pc:sldMk cId="3623608015" sldId="499"/>
        </pc:sldMkLst>
        <pc:spChg chg="del mod ord">
          <ac:chgData name="Dann Bleeker Pedersen" userId="34252400-a232-4440-8831-8cadcf57ce35" providerId="ADAL" clId="{5D18C0C2-102A-4970-B33C-1D15BE2F2270}" dt="2026-07-11T16:59:07.315" v="23" actId="700"/>
          <ac:spMkLst>
            <pc:docMk/>
            <pc:sldMk cId="3623608015" sldId="499"/>
            <ac:spMk id="2" creationId="{E059E4CC-D366-0842-92B3-D780E3035B01}"/>
          </ac:spMkLst>
        </pc:spChg>
        <pc:spChg chg="del">
          <ac:chgData name="Dann Bleeker Pedersen" userId="34252400-a232-4440-8831-8cadcf57ce35" providerId="ADAL" clId="{5D18C0C2-102A-4970-B33C-1D15BE2F2270}" dt="2026-07-11T16:59:07.315" v="23" actId="700"/>
          <ac:spMkLst>
            <pc:docMk/>
            <pc:sldMk cId="3623608015" sldId="499"/>
            <ac:spMk id="3" creationId="{EA77EF0D-0237-F0B0-AA14-FCF9AF927BDD}"/>
          </ac:spMkLst>
        </pc:spChg>
        <pc:spChg chg="mod ord">
          <ac:chgData name="Dann Bleeker Pedersen" userId="34252400-a232-4440-8831-8cadcf57ce35" providerId="ADAL" clId="{5D18C0C2-102A-4970-B33C-1D15BE2F2270}" dt="2026-07-11T16:59:07.315" v="23" actId="700"/>
          <ac:spMkLst>
            <pc:docMk/>
            <pc:sldMk cId="3623608015" sldId="499"/>
            <ac:spMk id="4" creationId="{F07E026C-F03F-38D1-B2D5-20A8F5DD642D}"/>
          </ac:spMkLst>
        </pc:spChg>
        <pc:spChg chg="add mod ord">
          <ac:chgData name="Dann Bleeker Pedersen" userId="34252400-a232-4440-8831-8cadcf57ce35" providerId="ADAL" clId="{5D18C0C2-102A-4970-B33C-1D15BE2F2270}" dt="2026-07-11T17:40:53.315" v="1162" actId="299"/>
          <ac:spMkLst>
            <pc:docMk/>
            <pc:sldMk cId="3623608015" sldId="499"/>
            <ac:spMk id="5" creationId="{E748DAAA-173D-BD33-DD92-23B299DCBC62}"/>
          </ac:spMkLst>
        </pc:spChg>
        <pc:spChg chg="add del mod">
          <ac:chgData name="Dann Bleeker Pedersen" userId="34252400-a232-4440-8831-8cadcf57ce35" providerId="ADAL" clId="{5D18C0C2-102A-4970-B33C-1D15BE2F2270}" dt="2026-07-11T17:40:31.901" v="1147" actId="478"/>
          <ac:spMkLst>
            <pc:docMk/>
            <pc:sldMk cId="3623608015" sldId="499"/>
            <ac:spMk id="8" creationId="{E3275A02-8949-59BC-5361-8DD15AEC1356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13" creationId="{90389883-2AF8-842B-8EE6-1F7E8A5A87D8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17" creationId="{1036125C-4A6E-221E-28DA-BDC092B59F39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26" creationId="{CB66547F-974F-EDD1-38F4-243DF46DDF2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27" creationId="{16ADA439-9A8F-5A41-0B52-D57BA0B247F4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33" creationId="{B982F8B2-F44F-4E66-62B0-CD78ED179FA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38" creationId="{483138FA-AD7A-71AD-ACC3-E5682F435F9D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1" creationId="{76EC1C61-0852-C80E-54A9-760D899DEBB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2" creationId="{70252B8C-F15D-3D6C-06C9-EF5435718CA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3" creationId="{41C3C7D9-0F0E-7BDA-F865-3C2AD10565A2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6" creationId="{7E9B8603-80E5-0A9B-0406-B3DC75168FEB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52" creationId="{28B4C702-DB37-8EA8-4823-8E8B6E8DA782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58" creationId="{6C57A474-BD7B-923A-0605-991406DFA34F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63" creationId="{F2ED755A-5736-0B85-50BF-E74D0376BCEB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67" creationId="{AE2A4DF9-B09D-3FE0-9105-CDF2EC15B6F0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76" creationId="{138FE32E-CB45-4715-52F2-F377499F0072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77" creationId="{E9ADC7B3-4F7B-6196-ECB2-95BE7C2C4F7F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78" creationId="{9B411E96-D8B7-3570-6F46-3959F86E608D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82" creationId="{B8292B35-753F-2799-371A-4280C1ABF20D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83" creationId="{C84E1B3C-BFFA-302C-4479-50741EA64D57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86" creationId="{BBBF76B1-38BD-AE1E-2B8E-51673E0267CC}"/>
          </ac:spMkLst>
        </pc:s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49" creationId="{F6AFE377-2658-BF9E-DA5B-9C44FA9E1158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54" creationId="{21D2D5E6-818B-5EF6-5C10-E81D77BAE81B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59" creationId="{35338822-441A-3BDC-3819-DD9271DF4FA7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64" creationId="{80EC8A64-9CCF-33FA-E195-AF831A10E563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69" creationId="{A622C505-6E01-10A0-2E1C-0161D73A6706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74" creationId="{9A1F7483-4B2C-048D-E3DC-9DA630592515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79" creationId="{CB1DABB5-1705-9675-A17F-75A13E32BB08}"/>
          </ac:grpSpMkLst>
        </pc:grpChg>
        <pc:grpChg chg="del">
          <ac:chgData name="Dann Bleeker Pedersen" userId="34252400-a232-4440-8831-8cadcf57ce35" providerId="ADAL" clId="{5D18C0C2-102A-4970-B33C-1D15BE2F2270}" dt="2026-07-11T17:40:31.901" v="1147" actId="478"/>
          <ac:grpSpMkLst>
            <pc:docMk/>
            <pc:sldMk cId="3623608015" sldId="499"/>
            <ac:grpSpMk id="84" creationId="{925A024F-BD33-041A-3B45-378F87F7373C}"/>
          </ac:grpSpMkLst>
        </pc:grpChg>
        <pc:graphicFrameChg chg="add mod modGraphic">
          <ac:chgData name="Dann Bleeker Pedersen" userId="34252400-a232-4440-8831-8cadcf57ce35" providerId="ADAL" clId="{5D18C0C2-102A-4970-B33C-1D15BE2F2270}" dt="2026-07-11T19:54:48.331" v="3002" actId="14734"/>
          <ac:graphicFrameMkLst>
            <pc:docMk/>
            <pc:sldMk cId="3623608015" sldId="499"/>
            <ac:graphicFrameMk id="2" creationId="{033B06A4-8B55-F44A-84E4-8CCF12D6E069}"/>
          </ac:graphicFrameMkLst>
        </pc:graphicFrameChg>
        <pc:graphicFrameChg chg="add mod ord modVis">
          <ac:chgData name="Dann Bleeker Pedersen" userId="34252400-a232-4440-8831-8cadcf57ce35" providerId="ADAL" clId="{5D18C0C2-102A-4970-B33C-1D15BE2F2270}" dt="2026-07-11T16:59:07.849" v="37"/>
          <ac:graphicFrameMkLst>
            <pc:docMk/>
            <pc:sldMk cId="3623608015" sldId="499"/>
            <ac:graphicFrameMk id="6" creationId="{56C04764-C227-690A-5265-762155F6825A}"/>
          </ac:graphicFrameMkLst>
        </pc:graphicFrameChg>
        <pc:graphicFrameChg chg="add del mod modGraphic">
          <ac:chgData name="Dann Bleeker Pedersen" userId="34252400-a232-4440-8831-8cadcf57ce35" providerId="ADAL" clId="{5D18C0C2-102A-4970-B33C-1D15BE2F2270}" dt="2026-07-11T17:40:37.843" v="1148" actId="478"/>
          <ac:graphicFrameMkLst>
            <pc:docMk/>
            <pc:sldMk cId="3623608015" sldId="499"/>
            <ac:graphicFrameMk id="7" creationId="{EE28A147-B997-C6E3-76D6-1DF5A9A89FE9}"/>
          </ac:graphicFrameMkLst>
        </pc:graphicFrameChg>
      </pc:sldChg>
      <pc:sldChg chg="addSp modSp new del mod">
        <pc:chgData name="Dann Bleeker Pedersen" userId="34252400-a232-4440-8831-8cadcf57ce35" providerId="ADAL" clId="{5D18C0C2-102A-4970-B33C-1D15BE2F2270}" dt="2026-07-11T17:41:07.259" v="1163" actId="47"/>
        <pc:sldMkLst>
          <pc:docMk/>
          <pc:sldMk cId="411994518" sldId="500"/>
        </pc:sldMkLst>
        <pc:spChg chg="mod ord">
          <ac:chgData name="Dann Bleeker Pedersen" userId="34252400-a232-4440-8831-8cadcf57ce35" providerId="ADAL" clId="{5D18C0C2-102A-4970-B33C-1D15BE2F2270}" dt="2026-07-11T17:06:28.548" v="569"/>
          <ac:spMkLst>
            <pc:docMk/>
            <pc:sldMk cId="411994518" sldId="500"/>
            <ac:spMk id="2" creationId="{869534CE-12F3-2AC9-3F72-31111F627913}"/>
          </ac:spMkLst>
        </pc:spChg>
        <pc:spChg chg="mod ord">
          <ac:chgData name="Dann Bleeker Pedersen" userId="34252400-a232-4440-8831-8cadcf57ce35" providerId="ADAL" clId="{5D18C0C2-102A-4970-B33C-1D15BE2F2270}" dt="2026-07-11T17:06:28.549" v="571"/>
          <ac:spMkLst>
            <pc:docMk/>
            <pc:sldMk cId="411994518" sldId="500"/>
            <ac:spMk id="3" creationId="{14F0436F-A6E2-B929-75FE-CC9DFC49EA57}"/>
          </ac:spMkLst>
        </pc:spChg>
        <pc:spChg chg="add mod ord">
          <ac:chgData name="Dann Bleeker Pedersen" userId="34252400-a232-4440-8831-8cadcf57ce35" providerId="ADAL" clId="{5D18C0C2-102A-4970-B33C-1D15BE2F2270}" dt="2026-07-11T17:06:28.561" v="611"/>
          <ac:spMkLst>
            <pc:docMk/>
            <pc:sldMk cId="411994518" sldId="500"/>
            <ac:spMk id="5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38.080" v="617" actId="14100"/>
          <ac:spMkLst>
            <pc:docMk/>
            <pc:sldMk cId="411994518" sldId="500"/>
            <ac:spMk id="6" creationId="{1C6C87F3-388A-3AD9-A780-E305C9258559}"/>
          </ac:spMkLst>
        </pc:spChg>
        <pc:spChg chg="add mod ord">
          <ac:chgData name="Dann Bleeker Pedersen" userId="34252400-a232-4440-8831-8cadcf57ce35" providerId="ADAL" clId="{5D18C0C2-102A-4970-B33C-1D15BE2F2270}" dt="2026-07-11T17:06:28.550" v="573"/>
          <ac:spMkLst>
            <pc:docMk/>
            <pc:sldMk cId="411994518" sldId="500"/>
            <ac:spMk id="28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0" v="575"/>
          <ac:spMkLst>
            <pc:docMk/>
            <pc:sldMk cId="411994518" sldId="500"/>
            <ac:spMk id="29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1" v="577"/>
          <ac:spMkLst>
            <pc:docMk/>
            <pc:sldMk cId="411994518" sldId="500"/>
            <ac:spMk id="30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1" v="579"/>
          <ac:spMkLst>
            <pc:docMk/>
            <pc:sldMk cId="411994518" sldId="500"/>
            <ac:spMk id="31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2" v="581"/>
          <ac:spMkLst>
            <pc:docMk/>
            <pc:sldMk cId="411994518" sldId="500"/>
            <ac:spMk id="32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2" v="583"/>
          <ac:spMkLst>
            <pc:docMk/>
            <pc:sldMk cId="411994518" sldId="500"/>
            <ac:spMk id="33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3" v="585"/>
          <ac:spMkLst>
            <pc:docMk/>
            <pc:sldMk cId="411994518" sldId="500"/>
            <ac:spMk id="34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3:00.601" v="204"/>
          <ac:spMkLst>
            <pc:docMk/>
            <pc:sldMk cId="411994518" sldId="500"/>
            <ac:spMk id="37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3:00.601" v="204"/>
          <ac:spMkLst>
            <pc:docMk/>
            <pc:sldMk cId="411994518" sldId="500"/>
            <ac:spMk id="39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4" v="589"/>
          <ac:spMkLst>
            <pc:docMk/>
            <pc:sldMk cId="411994518" sldId="500"/>
            <ac:spMk id="40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4" v="591"/>
          <ac:spMkLst>
            <pc:docMk/>
            <pc:sldMk cId="411994518" sldId="500"/>
            <ac:spMk id="41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5" v="593"/>
          <ac:spMkLst>
            <pc:docMk/>
            <pc:sldMk cId="411994518" sldId="500"/>
            <ac:spMk id="42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6" v="597"/>
          <ac:spMkLst>
            <pc:docMk/>
            <pc:sldMk cId="411994518" sldId="500"/>
            <ac:spMk id="44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7" v="599"/>
          <ac:spMkLst>
            <pc:docMk/>
            <pc:sldMk cId="411994518" sldId="500"/>
            <ac:spMk id="45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8" v="603"/>
          <ac:spMkLst>
            <pc:docMk/>
            <pc:sldMk cId="411994518" sldId="500"/>
            <ac:spMk id="47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60" v="607"/>
          <ac:spMkLst>
            <pc:docMk/>
            <pc:sldMk cId="411994518" sldId="500"/>
            <ac:spMk id="48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62" v="613"/>
          <ac:spMkLst>
            <pc:docMk/>
            <pc:sldMk cId="411994518" sldId="500"/>
            <ac:spMk id="59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1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5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6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7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8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9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0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1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2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3" creationId="{00000000-0000-0000-0000-000000000000}"/>
          </ac:spMkLst>
        </pc:spChg>
        <pc:grpChg chg="mod ord">
          <ac:chgData name="Dann Bleeker Pedersen" userId="34252400-a232-4440-8831-8cadcf57ce35" providerId="ADAL" clId="{5D18C0C2-102A-4970-B33C-1D15BE2F2270}" dt="2026-07-11T17:06:28.553" v="587"/>
          <ac:grpSpMkLst>
            <pc:docMk/>
            <pc:sldMk cId="411994518" sldId="500"/>
            <ac:grpSpMk id="35" creationId="{00000000-0000-0000-0000-000000000000}"/>
          </ac:grpSpMkLst>
        </pc:grpChg>
        <pc:grpChg chg="mod ord">
          <ac:chgData name="Dann Bleeker Pedersen" userId="34252400-a232-4440-8831-8cadcf57ce35" providerId="ADAL" clId="{5D18C0C2-102A-4970-B33C-1D15BE2F2270}" dt="2026-07-11T17:06:28.561" v="609"/>
          <ac:grpSpMkLst>
            <pc:docMk/>
            <pc:sldMk cId="411994518" sldId="500"/>
            <ac:grpSpMk id="54" creationId="{00000000-0000-0000-0000-000000000000}"/>
          </ac:grpSpMkLst>
        </pc:grpChg>
        <pc:grpChg chg="mod">
          <ac:chgData name="Dann Bleeker Pedersen" userId="34252400-a232-4440-8831-8cadcf57ce35" providerId="ADAL" clId="{5D18C0C2-102A-4970-B33C-1D15BE2F2270}" dt="2026-07-11T17:06:28.562" v="614"/>
          <ac:grpSpMkLst>
            <pc:docMk/>
            <pc:sldMk cId="411994518" sldId="500"/>
            <ac:grpSpMk id="60" creationId="{00000000-0000-0000-0000-000000000000}"/>
          </ac:grpSpMkLst>
        </pc:grpChg>
        <pc:graphicFrameChg chg="add mod ord modVis">
          <ac:chgData name="Dann Bleeker Pedersen" userId="34252400-a232-4440-8831-8cadcf57ce35" providerId="ADAL" clId="{5D18C0C2-102A-4970-B33C-1D15BE2F2270}" dt="2026-07-11T17:06:28.563" v="616"/>
          <ac:graphicFrameMkLst>
            <pc:docMk/>
            <pc:sldMk cId="411994518" sldId="500"/>
            <ac:graphicFrameMk id="4" creationId="{6230CC99-4C1A-53FE-3F41-42D194E1FAC8}"/>
          </ac:graphicFrameMkLst>
        </pc:graphicFrameChg>
        <pc:graphicFrameChg chg="mod ord modGraphic">
          <ac:chgData name="Dann Bleeker Pedersen" userId="34252400-a232-4440-8831-8cadcf57ce35" providerId="ADAL" clId="{5D18C0C2-102A-4970-B33C-1D15BE2F2270}" dt="2026-07-11T17:06:28.555" v="595"/>
          <ac:graphicFrameMkLst>
            <pc:docMk/>
            <pc:sldMk cId="411994518" sldId="500"/>
            <ac:graphicFrameMk id="43" creationId="{00000000-0000-0000-0000-000000000000}"/>
          </ac:graphicFrameMkLst>
        </pc:graphicFrameChg>
        <pc:graphicFrameChg chg="mod ord">
          <ac:chgData name="Dann Bleeker Pedersen" userId="34252400-a232-4440-8831-8cadcf57ce35" providerId="ADAL" clId="{5D18C0C2-102A-4970-B33C-1D15BE2F2270}" dt="2026-07-11T17:06:28.558" v="601"/>
          <ac:graphicFrameMkLst>
            <pc:docMk/>
            <pc:sldMk cId="411994518" sldId="500"/>
            <ac:graphicFrameMk id="46" creationId="{00000000-0000-0000-0000-000000000000}"/>
          </ac:graphicFrameMkLst>
        </pc:graphicFrameChg>
      </pc:sldChg>
      <pc:sldChg chg="addSp delSp modSp new del mod">
        <pc:chgData name="Dann Bleeker Pedersen" userId="34252400-a232-4440-8831-8cadcf57ce35" providerId="ADAL" clId="{5D18C0C2-102A-4970-B33C-1D15BE2F2270}" dt="2026-07-11T17:41:07.259" v="1163" actId="47"/>
        <pc:sldMkLst>
          <pc:docMk/>
          <pc:sldMk cId="3937300168" sldId="501"/>
        </pc:sldMkLst>
        <pc:spChg chg="mod ord">
          <ac:chgData name="Dann Bleeker Pedersen" userId="34252400-a232-4440-8831-8cadcf57ce35" providerId="ADAL" clId="{5D18C0C2-102A-4970-B33C-1D15BE2F2270}" dt="2026-07-11T17:07:49.911" v="913" actId="299"/>
          <ac:spMkLst>
            <pc:docMk/>
            <pc:sldMk cId="3937300168" sldId="501"/>
            <ac:spMk id="2" creationId="{065E193B-99B8-5D5F-8707-DED498BC96AE}"/>
          </ac:spMkLst>
        </pc:spChg>
        <pc:spChg chg="mod ord">
          <ac:chgData name="Dann Bleeker Pedersen" userId="34252400-a232-4440-8831-8cadcf57ce35" providerId="ADAL" clId="{5D18C0C2-102A-4970-B33C-1D15BE2F2270}" dt="2026-07-11T17:07:35.890" v="842"/>
          <ac:spMkLst>
            <pc:docMk/>
            <pc:sldMk cId="3937300168" sldId="501"/>
            <ac:spMk id="3" creationId="{2751A1E9-3AAA-A111-83C4-61E3C0C5F484}"/>
          </ac:spMkLst>
        </pc:spChg>
        <pc:spChg chg="add mod ord">
          <ac:chgData name="Dann Bleeker Pedersen" userId="34252400-a232-4440-8831-8cadcf57ce35" providerId="ADAL" clId="{5D18C0C2-102A-4970-B33C-1D15BE2F2270}" dt="2026-07-11T17:07:35.891" v="844"/>
          <ac:spMkLst>
            <pc:docMk/>
            <pc:sldMk cId="3937300168" sldId="501"/>
            <ac:spMk id="4" creationId="{8A45A0EE-DC43-AC36-855A-C2E4CD7088E6}"/>
          </ac:spMkLst>
        </pc:spChg>
        <pc:spChg chg="mod ord">
          <ac:chgData name="Dann Bleeker Pedersen" userId="34252400-a232-4440-8831-8cadcf57ce35" providerId="ADAL" clId="{5D18C0C2-102A-4970-B33C-1D15BE2F2270}" dt="2026-07-11T17:07:35.891" v="846"/>
          <ac:spMkLst>
            <pc:docMk/>
            <pc:sldMk cId="3937300168" sldId="501"/>
            <ac:spMk id="5" creationId="{10091CFB-916B-B3B3-5CF7-8DEB4B5E802A}"/>
          </ac:spMkLst>
        </pc:spChg>
        <pc:spChg chg="add mod ord">
          <ac:chgData name="Dann Bleeker Pedersen" userId="34252400-a232-4440-8831-8cadcf57ce35" providerId="ADAL" clId="{5D18C0C2-102A-4970-B33C-1D15BE2F2270}" dt="2026-07-11T17:07:35.891" v="848"/>
          <ac:spMkLst>
            <pc:docMk/>
            <pc:sldMk cId="3937300168" sldId="501"/>
            <ac:spMk id="6" creationId="{440F04B0-5582-A61E-0330-7D2FDC83C83F}"/>
          </ac:spMkLst>
        </pc:spChg>
        <pc:spChg chg="add mod ord">
          <ac:chgData name="Dann Bleeker Pedersen" userId="34252400-a232-4440-8831-8cadcf57ce35" providerId="ADAL" clId="{5D18C0C2-102A-4970-B33C-1D15BE2F2270}" dt="2026-07-11T17:07:35.892" v="850"/>
          <ac:spMkLst>
            <pc:docMk/>
            <pc:sldMk cId="3937300168" sldId="501"/>
            <ac:spMk id="7" creationId="{7B297095-606C-D2E7-BCBA-E8A3A8485D08}"/>
          </ac:spMkLst>
        </pc:spChg>
        <pc:spChg chg="mod ord">
          <ac:chgData name="Dann Bleeker Pedersen" userId="34252400-a232-4440-8831-8cadcf57ce35" providerId="ADAL" clId="{5D18C0C2-102A-4970-B33C-1D15BE2F2270}" dt="2026-07-11T17:07:35.892" v="852"/>
          <ac:spMkLst>
            <pc:docMk/>
            <pc:sldMk cId="3937300168" sldId="501"/>
            <ac:spMk id="8" creationId="{488A2350-D0EF-8C90-E193-C994D4FE05BB}"/>
          </ac:spMkLst>
        </pc:spChg>
        <pc:spChg chg="add mod">
          <ac:chgData name="Dann Bleeker Pedersen" userId="34252400-a232-4440-8831-8cadcf57ce35" providerId="ADAL" clId="{5D18C0C2-102A-4970-B33C-1D15BE2F2270}" dt="2026-07-11T17:07:35.895" v="861"/>
          <ac:spMkLst>
            <pc:docMk/>
            <pc:sldMk cId="3937300168" sldId="501"/>
            <ac:spMk id="13" creationId="{B41F4085-E077-F689-8E10-A41E67F04D05}"/>
          </ac:spMkLst>
        </pc:spChg>
        <pc:spChg chg="add mod">
          <ac:chgData name="Dann Bleeker Pedersen" userId="34252400-a232-4440-8831-8cadcf57ce35" providerId="ADAL" clId="{5D18C0C2-102A-4970-B33C-1D15BE2F2270}" dt="2026-07-11T17:07:35.896" v="862"/>
          <ac:spMkLst>
            <pc:docMk/>
            <pc:sldMk cId="3937300168" sldId="501"/>
            <ac:spMk id="14" creationId="{C8CA1E0A-6892-DFC0-7155-A83B5865758F}"/>
          </ac:spMkLst>
        </pc:spChg>
        <pc:spChg chg="mod">
          <ac:chgData name="Dann Bleeker Pedersen" userId="34252400-a232-4440-8831-8cadcf57ce35" providerId="ADAL" clId="{5D18C0C2-102A-4970-B33C-1D15BE2F2270}" dt="2026-07-11T17:07:35.896" v="863"/>
          <ac:spMkLst>
            <pc:docMk/>
            <pc:sldMk cId="3937300168" sldId="501"/>
            <ac:spMk id="15" creationId="{15ECA724-84A6-1197-DCEE-86B92CED3CA6}"/>
          </ac:spMkLst>
        </pc:spChg>
        <pc:spChg chg="mod ord">
          <ac:chgData name="Dann Bleeker Pedersen" userId="34252400-a232-4440-8831-8cadcf57ce35" providerId="ADAL" clId="{5D18C0C2-102A-4970-B33C-1D15BE2F2270}" dt="2026-07-11T17:07:35.897" v="865"/>
          <ac:spMkLst>
            <pc:docMk/>
            <pc:sldMk cId="3937300168" sldId="501"/>
            <ac:spMk id="16" creationId="{39F386B6-DEA5-58FF-0A78-E4B16331379A}"/>
          </ac:spMkLst>
        </pc:spChg>
        <pc:spChg chg="mod ord">
          <ac:chgData name="Dann Bleeker Pedersen" userId="34252400-a232-4440-8831-8cadcf57ce35" providerId="ADAL" clId="{5D18C0C2-102A-4970-B33C-1D15BE2F2270}" dt="2026-07-11T17:07:35.897" v="867"/>
          <ac:spMkLst>
            <pc:docMk/>
            <pc:sldMk cId="3937300168" sldId="501"/>
            <ac:spMk id="17" creationId="{3BCA067D-E1FE-30C4-F346-D0BD8323423F}"/>
          </ac:spMkLst>
        </pc:spChg>
        <pc:spChg chg="add mod ord">
          <ac:chgData name="Dann Bleeker Pedersen" userId="34252400-a232-4440-8831-8cadcf57ce35" providerId="ADAL" clId="{5D18C0C2-102A-4970-B33C-1D15BE2F2270}" dt="2026-07-11T17:07:35.898" v="869"/>
          <ac:spMkLst>
            <pc:docMk/>
            <pc:sldMk cId="3937300168" sldId="501"/>
            <ac:spMk id="18" creationId="{E39B1E0C-31B1-D3F8-6CFD-CA2F38F79E90}"/>
          </ac:spMkLst>
        </pc:spChg>
        <pc:spChg chg="mod ord">
          <ac:chgData name="Dann Bleeker Pedersen" userId="34252400-a232-4440-8831-8cadcf57ce35" providerId="ADAL" clId="{5D18C0C2-102A-4970-B33C-1D15BE2F2270}" dt="2026-07-11T17:07:35.898" v="871"/>
          <ac:spMkLst>
            <pc:docMk/>
            <pc:sldMk cId="3937300168" sldId="501"/>
            <ac:spMk id="19" creationId="{7B4AB9BA-2FC8-F706-DF58-C8FFDF353005}"/>
          </ac:spMkLst>
        </pc:spChg>
        <pc:spChg chg="add mod ord">
          <ac:chgData name="Dann Bleeker Pedersen" userId="34252400-a232-4440-8831-8cadcf57ce35" providerId="ADAL" clId="{5D18C0C2-102A-4970-B33C-1D15BE2F2270}" dt="2026-07-11T17:07:35.900" v="875"/>
          <ac:spMkLst>
            <pc:docMk/>
            <pc:sldMk cId="3937300168" sldId="501"/>
            <ac:spMk id="21" creationId="{43C5DEAB-573F-09DF-F9C6-757708FC2524}"/>
          </ac:spMkLst>
        </pc:spChg>
        <pc:spChg chg="mod ord">
          <ac:chgData name="Dann Bleeker Pedersen" userId="34252400-a232-4440-8831-8cadcf57ce35" providerId="ADAL" clId="{5D18C0C2-102A-4970-B33C-1D15BE2F2270}" dt="2026-07-11T17:07:35.900" v="877"/>
          <ac:spMkLst>
            <pc:docMk/>
            <pc:sldMk cId="3937300168" sldId="501"/>
            <ac:spMk id="22" creationId="{D081D27D-2E0A-58E9-4C98-BBD0B7D402B5}"/>
          </ac:spMkLst>
        </pc:spChg>
        <pc:spChg chg="mod ord">
          <ac:chgData name="Dann Bleeker Pedersen" userId="34252400-a232-4440-8831-8cadcf57ce35" providerId="ADAL" clId="{5D18C0C2-102A-4970-B33C-1D15BE2F2270}" dt="2026-07-11T17:07:35.901" v="879"/>
          <ac:spMkLst>
            <pc:docMk/>
            <pc:sldMk cId="3937300168" sldId="501"/>
            <ac:spMk id="23" creationId="{3AAE8D69-49A8-B518-B3DC-A1565785397B}"/>
          </ac:spMkLst>
        </pc:spChg>
        <pc:spChg chg="mod ord">
          <ac:chgData name="Dann Bleeker Pedersen" userId="34252400-a232-4440-8831-8cadcf57ce35" providerId="ADAL" clId="{5D18C0C2-102A-4970-B33C-1D15BE2F2270}" dt="2026-07-11T17:07:35.901" v="881"/>
          <ac:spMkLst>
            <pc:docMk/>
            <pc:sldMk cId="3937300168" sldId="501"/>
            <ac:spMk id="24" creationId="{5798B459-6AC8-6C63-7DE5-8758ABA48B24}"/>
          </ac:spMkLst>
        </pc:spChg>
        <pc:spChg chg="add mod ord">
          <ac:chgData name="Dann Bleeker Pedersen" userId="34252400-a232-4440-8831-8cadcf57ce35" providerId="ADAL" clId="{5D18C0C2-102A-4970-B33C-1D15BE2F2270}" dt="2026-07-11T17:07:35.902" v="883"/>
          <ac:spMkLst>
            <pc:docMk/>
            <pc:sldMk cId="3937300168" sldId="501"/>
            <ac:spMk id="25" creationId="{669ED8AA-FD39-500F-D83B-0F2FEF5EC2A1}"/>
          </ac:spMkLst>
        </pc:spChg>
        <pc:spChg chg="mod ord">
          <ac:chgData name="Dann Bleeker Pedersen" userId="34252400-a232-4440-8831-8cadcf57ce35" providerId="ADAL" clId="{5D18C0C2-102A-4970-B33C-1D15BE2F2270}" dt="2026-07-11T17:07:35.902" v="887"/>
          <ac:spMkLst>
            <pc:docMk/>
            <pc:sldMk cId="3937300168" sldId="501"/>
            <ac:spMk id="27" creationId="{E1628208-07CB-5D9D-E19C-E1C1A484D651}"/>
          </ac:spMkLst>
        </pc:spChg>
        <pc:spChg chg="add mod ord">
          <ac:chgData name="Dann Bleeker Pedersen" userId="34252400-a232-4440-8831-8cadcf57ce35" providerId="ADAL" clId="{5D18C0C2-102A-4970-B33C-1D15BE2F2270}" dt="2026-07-11T17:07:35.902" v="889"/>
          <ac:spMkLst>
            <pc:docMk/>
            <pc:sldMk cId="3937300168" sldId="501"/>
            <ac:spMk id="28" creationId="{A4A7E963-E2BB-3E0B-1A37-C70E6E39D1FE}"/>
          </ac:spMkLst>
        </pc:spChg>
        <pc:spChg chg="add mod ord">
          <ac:chgData name="Dann Bleeker Pedersen" userId="34252400-a232-4440-8831-8cadcf57ce35" providerId="ADAL" clId="{5D18C0C2-102A-4970-B33C-1D15BE2F2270}" dt="2026-07-11T17:07:35.904" v="891"/>
          <ac:spMkLst>
            <pc:docMk/>
            <pc:sldMk cId="3937300168" sldId="501"/>
            <ac:spMk id="29" creationId="{0E8F28C1-946F-82FF-BB41-94EB79B0B35D}"/>
          </ac:spMkLst>
        </pc:spChg>
        <pc:spChg chg="add del mod modVis">
          <ac:chgData name="Dann Bleeker Pedersen" userId="34252400-a232-4440-8831-8cadcf57ce35" providerId="ADAL" clId="{5D18C0C2-102A-4970-B33C-1D15BE2F2270}" dt="2026-07-11T17:07:35.905" v="895"/>
          <ac:spMkLst>
            <pc:docMk/>
            <pc:sldMk cId="3937300168" sldId="501"/>
            <ac:spMk id="31" creationId="{349E9E75-A125-F9F8-7A81-D6C94A678D80}"/>
          </ac:spMkLst>
        </pc:spChg>
        <pc:graphicFrameChg chg="del">
          <ac:chgData name="Dann Bleeker Pedersen" userId="34252400-a232-4440-8831-8cadcf57ce35" providerId="ADAL" clId="{5D18C0C2-102A-4970-B33C-1D15BE2F2270}" dt="2026-07-11T17:07:35.846" v="763"/>
          <ac:graphicFrameMkLst>
            <pc:docMk/>
            <pc:sldMk cId="3937300168" sldId="501"/>
            <ac:graphicFrameMk id="11" creationId="{172908C0-9AFA-C78A-87D7-2D0D74FC3D28}"/>
          </ac:graphicFrameMkLst>
        </pc:graphicFrameChg>
        <pc:graphicFrameChg chg="mod ord">
          <ac:chgData name="Dann Bleeker Pedersen" userId="34252400-a232-4440-8831-8cadcf57ce35" providerId="ADAL" clId="{5D18C0C2-102A-4970-B33C-1D15BE2F2270}" dt="2026-07-11T17:07:35.899" v="873"/>
          <ac:graphicFrameMkLst>
            <pc:docMk/>
            <pc:sldMk cId="3937300168" sldId="501"/>
            <ac:graphicFrameMk id="20" creationId="{2DB22F87-76DC-9D8C-D71F-EFDAAC7346F0}"/>
          </ac:graphicFrameMkLst>
        </pc:graphicFrameChg>
        <pc:graphicFrameChg chg="add mod ord">
          <ac:chgData name="Dann Bleeker Pedersen" userId="34252400-a232-4440-8831-8cadcf57ce35" providerId="ADAL" clId="{5D18C0C2-102A-4970-B33C-1D15BE2F2270}" dt="2026-07-11T17:07:35.894" v="858"/>
          <ac:graphicFrameMkLst>
            <pc:docMk/>
            <pc:sldMk cId="3937300168" sldId="501"/>
            <ac:graphicFrameMk id="32" creationId="{51CF0938-0D78-3D16-3B77-2217B73F9351}"/>
          </ac:graphicFrameMkLst>
        </pc:graphicFrameChg>
        <pc:graphicFrameChg chg="add mod ord modVis">
          <ac:chgData name="Dann Bleeker Pedersen" userId="34252400-a232-4440-8831-8cadcf57ce35" providerId="ADAL" clId="{5D18C0C2-102A-4970-B33C-1D15BE2F2270}" dt="2026-07-11T17:07:35.923" v="909"/>
          <ac:graphicFrameMkLst>
            <pc:docMk/>
            <pc:sldMk cId="3937300168" sldId="501"/>
            <ac:graphicFrameMk id="33" creationId="{EE3959E4-EC66-7971-FAC8-615E734010DE}"/>
          </ac:graphicFrameMkLst>
        </pc:graphicFrameChg>
        <pc:cxnChg chg="mod ord">
          <ac:chgData name="Dann Bleeker Pedersen" userId="34252400-a232-4440-8831-8cadcf57ce35" providerId="ADAL" clId="{5D18C0C2-102A-4970-B33C-1D15BE2F2270}" dt="2026-07-11T17:07:35.894" v="854"/>
          <ac:cxnSpMkLst>
            <pc:docMk/>
            <pc:sldMk cId="3937300168" sldId="501"/>
            <ac:cxnSpMk id="9" creationId="{02BE6E41-46E4-E0A9-A78B-D03A22DA6A9A}"/>
          </ac:cxnSpMkLst>
        </pc:cxnChg>
        <pc:cxnChg chg="mod ord">
          <ac:chgData name="Dann Bleeker Pedersen" userId="34252400-a232-4440-8831-8cadcf57ce35" providerId="ADAL" clId="{5D18C0C2-102A-4970-B33C-1D15BE2F2270}" dt="2026-07-11T17:07:35.894" v="856"/>
          <ac:cxnSpMkLst>
            <pc:docMk/>
            <pc:sldMk cId="3937300168" sldId="501"/>
            <ac:cxnSpMk id="10" creationId="{85D80E34-35A0-A2F0-A855-499DBC47DF6C}"/>
          </ac:cxnSpMkLst>
        </pc:cxnChg>
        <pc:cxnChg chg="mod ord">
          <ac:chgData name="Dann Bleeker Pedersen" userId="34252400-a232-4440-8831-8cadcf57ce35" providerId="ADAL" clId="{5D18C0C2-102A-4970-B33C-1D15BE2F2270}" dt="2026-07-11T17:07:35.895" v="860"/>
          <ac:cxnSpMkLst>
            <pc:docMk/>
            <pc:sldMk cId="3937300168" sldId="501"/>
            <ac:cxnSpMk id="12" creationId="{160CA1AC-3397-5B19-A5F1-A32A2B52BC3A}"/>
          </ac:cxnSpMkLst>
        </pc:cxnChg>
        <pc:cxnChg chg="mod ord">
          <ac:chgData name="Dann Bleeker Pedersen" userId="34252400-a232-4440-8831-8cadcf57ce35" providerId="ADAL" clId="{5D18C0C2-102A-4970-B33C-1D15BE2F2270}" dt="2026-07-11T17:07:35.902" v="885"/>
          <ac:cxnSpMkLst>
            <pc:docMk/>
            <pc:sldMk cId="3937300168" sldId="501"/>
            <ac:cxnSpMk id="26" creationId="{BE66E139-9BA2-F648-2E82-8DBE0168D8A8}"/>
          </ac:cxnSpMkLst>
        </pc:cxnChg>
        <pc:cxnChg chg="mod ord">
          <ac:chgData name="Dann Bleeker Pedersen" userId="34252400-a232-4440-8831-8cadcf57ce35" providerId="ADAL" clId="{5D18C0C2-102A-4970-B33C-1D15BE2F2270}" dt="2026-07-11T17:07:35.904" v="893"/>
          <ac:cxnSpMkLst>
            <pc:docMk/>
            <pc:sldMk cId="3937300168" sldId="501"/>
            <ac:cxnSpMk id="30" creationId="{4A07C53A-62DC-681A-66EB-6E077A5FC109}"/>
          </ac:cxnSpMkLst>
        </pc:cxnChg>
      </pc:sldChg>
      <pc:sldChg chg="addSp delSp modSp add del mod">
        <pc:chgData name="Dann Bleeker Pedersen" userId="34252400-a232-4440-8831-8cadcf57ce35" providerId="ADAL" clId="{5D18C0C2-102A-4970-B33C-1D15BE2F2270}" dt="2026-07-11T17:41:07.259" v="1163" actId="47"/>
        <pc:sldMkLst>
          <pc:docMk/>
          <pc:sldMk cId="3868029881" sldId="502"/>
        </pc:sldMkLst>
        <pc:spChg chg="mod">
          <ac:chgData name="Dann Bleeker Pedersen" userId="34252400-a232-4440-8831-8cadcf57ce35" providerId="ADAL" clId="{5D18C0C2-102A-4970-B33C-1D15BE2F2270}" dt="2026-07-11T17:08:00.329" v="997" actId="299"/>
          <ac:spMkLst>
            <pc:docMk/>
            <pc:sldMk cId="3868029881" sldId="502"/>
            <ac:spMk id="2" creationId="{4488E6EA-EEEE-4639-EE7E-A1457F1A3C53}"/>
          </ac:spMkLst>
        </pc:spChg>
        <pc:spChg chg="del">
          <ac:chgData name="Dann Bleeker Pedersen" userId="34252400-a232-4440-8831-8cadcf57ce35" providerId="ADAL" clId="{5D18C0C2-102A-4970-B33C-1D15BE2F2270}" dt="2026-07-11T17:08:05.605" v="1037"/>
          <ac:spMkLst>
            <pc:docMk/>
            <pc:sldMk cId="3868029881" sldId="502"/>
            <ac:spMk id="4" creationId="{5F82491D-AF0E-1987-C29F-7E8AC0B8661C}"/>
          </ac:spMkLst>
        </pc:spChg>
        <pc:spChg chg="del">
          <ac:chgData name="Dann Bleeker Pedersen" userId="34252400-a232-4440-8831-8cadcf57ce35" providerId="ADAL" clId="{5D18C0C2-102A-4970-B33C-1D15BE2F2270}" dt="2026-07-11T17:08:05.608" v="1043"/>
          <ac:spMkLst>
            <pc:docMk/>
            <pc:sldMk cId="3868029881" sldId="502"/>
            <ac:spMk id="5" creationId="{4923A9A5-FEF7-D6F6-46A0-01B31297FCE1}"/>
          </ac:spMkLst>
        </pc:spChg>
        <pc:spChg chg="del">
          <ac:chgData name="Dann Bleeker Pedersen" userId="34252400-a232-4440-8831-8cadcf57ce35" providerId="ADAL" clId="{5D18C0C2-102A-4970-B33C-1D15BE2F2270}" dt="2026-07-11T17:08:05.606" v="1039"/>
          <ac:spMkLst>
            <pc:docMk/>
            <pc:sldMk cId="3868029881" sldId="502"/>
            <ac:spMk id="6" creationId="{6816849D-053F-C794-3C30-5625EA06918F}"/>
          </ac:spMkLst>
        </pc:spChg>
        <pc:spChg chg="del">
          <ac:chgData name="Dann Bleeker Pedersen" userId="34252400-a232-4440-8831-8cadcf57ce35" providerId="ADAL" clId="{5D18C0C2-102A-4970-B33C-1D15BE2F2270}" dt="2026-07-11T17:08:05.607" v="1041"/>
          <ac:spMkLst>
            <pc:docMk/>
            <pc:sldMk cId="3868029881" sldId="502"/>
            <ac:spMk id="7" creationId="{B1E16252-1BEC-EC9C-FD60-3B1BB1A60500}"/>
          </ac:spMkLst>
        </pc:spChg>
        <pc:spChg chg="del">
          <ac:chgData name="Dann Bleeker Pedersen" userId="34252400-a232-4440-8831-8cadcf57ce35" providerId="ADAL" clId="{5D18C0C2-102A-4970-B33C-1D15BE2F2270}" dt="2026-07-11T17:08:05.609" v="1045"/>
          <ac:spMkLst>
            <pc:docMk/>
            <pc:sldMk cId="3868029881" sldId="502"/>
            <ac:spMk id="8" creationId="{AA45BE69-82F0-54B5-5663-50B039E678EA}"/>
          </ac:spMkLst>
        </pc:spChg>
        <pc:spChg chg="add del mod modVis">
          <ac:chgData name="Dann Bleeker Pedersen" userId="34252400-a232-4440-8831-8cadcf57ce35" providerId="ADAL" clId="{5D18C0C2-102A-4970-B33C-1D15BE2F2270}" dt="2026-07-11T17:08:00.367" v="1014"/>
          <ac:spMkLst>
            <pc:docMk/>
            <pc:sldMk cId="3868029881" sldId="502"/>
            <ac:spMk id="11" creationId="{232E1CF1-6EEB-294F-AADB-566134607B6F}"/>
          </ac:spMkLst>
        </pc:spChg>
        <pc:spChg chg="del mod">
          <ac:chgData name="Dann Bleeker Pedersen" userId="34252400-a232-4440-8831-8cadcf57ce35" providerId="ADAL" clId="{5D18C0C2-102A-4970-B33C-1D15BE2F2270}" dt="2026-07-11T17:08:05.599" v="1025"/>
          <ac:spMkLst>
            <pc:docMk/>
            <pc:sldMk cId="3868029881" sldId="502"/>
            <ac:spMk id="13" creationId="{18BD841A-F568-105F-866D-05FF073BB723}"/>
          </ac:spMkLst>
        </pc:spChg>
        <pc:spChg chg="del mod">
          <ac:chgData name="Dann Bleeker Pedersen" userId="34252400-a232-4440-8831-8cadcf57ce35" providerId="ADAL" clId="{5D18C0C2-102A-4970-B33C-1D15BE2F2270}" dt="2026-07-11T17:08:05.599" v="1024"/>
          <ac:spMkLst>
            <pc:docMk/>
            <pc:sldMk cId="3868029881" sldId="502"/>
            <ac:spMk id="14" creationId="{EF7C9107-50C0-7DBD-4AF6-1E53520F827C}"/>
          </ac:spMkLst>
        </pc:spChg>
        <pc:spChg chg="del mod">
          <ac:chgData name="Dann Bleeker Pedersen" userId="34252400-a232-4440-8831-8cadcf57ce35" providerId="ADAL" clId="{5D18C0C2-102A-4970-B33C-1D15BE2F2270}" dt="2026-07-11T17:08:05.598" v="1021"/>
          <ac:spMkLst>
            <pc:docMk/>
            <pc:sldMk cId="3868029881" sldId="502"/>
            <ac:spMk id="15" creationId="{50ECC532-FED3-B1E5-9A7E-5E0A0F382301}"/>
          </ac:spMkLst>
        </pc:spChg>
        <pc:spChg chg="del mod">
          <ac:chgData name="Dann Bleeker Pedersen" userId="34252400-a232-4440-8831-8cadcf57ce35" providerId="ADAL" clId="{5D18C0C2-102A-4970-B33C-1D15BE2F2270}" dt="2026-07-11T17:08:05.595" v="1018"/>
          <ac:spMkLst>
            <pc:docMk/>
            <pc:sldMk cId="3868029881" sldId="502"/>
            <ac:spMk id="16" creationId="{E078667D-665B-63DE-D82A-0FDF764EA7A8}"/>
          </ac:spMkLst>
        </pc:spChg>
        <pc:spChg chg="del">
          <ac:chgData name="Dann Bleeker Pedersen" userId="34252400-a232-4440-8831-8cadcf57ce35" providerId="ADAL" clId="{5D18C0C2-102A-4970-B33C-1D15BE2F2270}" dt="2026-07-11T17:08:05.601" v="1029"/>
          <ac:spMkLst>
            <pc:docMk/>
            <pc:sldMk cId="3868029881" sldId="502"/>
            <ac:spMk id="17" creationId="{96FB64FF-01E8-DD07-21BB-1CE22CBA76FC}"/>
          </ac:spMkLst>
        </pc:spChg>
        <pc:spChg chg="del">
          <ac:chgData name="Dann Bleeker Pedersen" userId="34252400-a232-4440-8831-8cadcf57ce35" providerId="ADAL" clId="{5D18C0C2-102A-4970-B33C-1D15BE2F2270}" dt="2026-07-11T17:08:05.610" v="1047"/>
          <ac:spMkLst>
            <pc:docMk/>
            <pc:sldMk cId="3868029881" sldId="502"/>
            <ac:spMk id="18" creationId="{78D4580B-A9C6-382A-11A3-AC54746AF30D}"/>
          </ac:spMkLst>
        </pc:spChg>
        <pc:spChg chg="del">
          <ac:chgData name="Dann Bleeker Pedersen" userId="34252400-a232-4440-8831-8cadcf57ce35" providerId="ADAL" clId="{5D18C0C2-102A-4970-B33C-1D15BE2F2270}" dt="2026-07-11T17:08:05.603" v="1031"/>
          <ac:spMkLst>
            <pc:docMk/>
            <pc:sldMk cId="3868029881" sldId="502"/>
            <ac:spMk id="19" creationId="{9BE2C06F-EDC5-03F3-DC56-59EA98CCADFA}"/>
          </ac:spMkLst>
        </pc:spChg>
        <pc:spChg chg="del">
          <ac:chgData name="Dann Bleeker Pedersen" userId="34252400-a232-4440-8831-8cadcf57ce35" providerId="ADAL" clId="{5D18C0C2-102A-4970-B33C-1D15BE2F2270}" dt="2026-07-11T17:08:05.604" v="1033"/>
          <ac:spMkLst>
            <pc:docMk/>
            <pc:sldMk cId="3868029881" sldId="502"/>
            <ac:spMk id="21" creationId="{B948AC8D-EA78-4AC6-726D-334D1EBCC018}"/>
          </ac:spMkLst>
        </pc:spChg>
        <pc:spChg chg="del">
          <ac:chgData name="Dann Bleeker Pedersen" userId="34252400-a232-4440-8831-8cadcf57ce35" providerId="ADAL" clId="{5D18C0C2-102A-4970-B33C-1D15BE2F2270}" dt="2026-07-11T17:08:05.613" v="1051"/>
          <ac:spMkLst>
            <pc:docMk/>
            <pc:sldMk cId="3868029881" sldId="502"/>
            <ac:spMk id="22" creationId="{22447EEC-DFCE-67A2-A0B5-0131B9AAA43A}"/>
          </ac:spMkLst>
        </pc:spChg>
        <pc:spChg chg="del">
          <ac:chgData name="Dann Bleeker Pedersen" userId="34252400-a232-4440-8831-8cadcf57ce35" providerId="ADAL" clId="{5D18C0C2-102A-4970-B33C-1D15BE2F2270}" dt="2026-07-11T17:08:05.615" v="1053"/>
          <ac:spMkLst>
            <pc:docMk/>
            <pc:sldMk cId="3868029881" sldId="502"/>
            <ac:spMk id="23" creationId="{5BC24447-313E-FBDA-D5B2-03B5E276CF5C}"/>
          </ac:spMkLst>
        </pc:spChg>
        <pc:spChg chg="del">
          <ac:chgData name="Dann Bleeker Pedersen" userId="34252400-a232-4440-8831-8cadcf57ce35" providerId="ADAL" clId="{5D18C0C2-102A-4970-B33C-1D15BE2F2270}" dt="2026-07-11T17:08:05.604" v="1035"/>
          <ac:spMkLst>
            <pc:docMk/>
            <pc:sldMk cId="3868029881" sldId="502"/>
            <ac:spMk id="24" creationId="{0023BE1B-04E3-8BF5-1545-9BA06A89E370}"/>
          </ac:spMkLst>
        </pc:spChg>
        <pc:spChg chg="del">
          <ac:chgData name="Dann Bleeker Pedersen" userId="34252400-a232-4440-8831-8cadcf57ce35" providerId="ADAL" clId="{5D18C0C2-102A-4970-B33C-1D15BE2F2270}" dt="2026-07-11T17:08:05.616" v="1055"/>
          <ac:spMkLst>
            <pc:docMk/>
            <pc:sldMk cId="3868029881" sldId="502"/>
            <ac:spMk id="25" creationId="{FE1FF6E6-AB2E-B807-E7A1-E66993C76B96}"/>
          </ac:spMkLst>
        </pc:spChg>
        <pc:spChg chg="del">
          <ac:chgData name="Dann Bleeker Pedersen" userId="34252400-a232-4440-8831-8cadcf57ce35" providerId="ADAL" clId="{5D18C0C2-102A-4970-B33C-1D15BE2F2270}" dt="2026-07-11T17:08:05.617" v="1059"/>
          <ac:spMkLst>
            <pc:docMk/>
            <pc:sldMk cId="3868029881" sldId="502"/>
            <ac:spMk id="27" creationId="{80B8F93E-7C5C-D6C3-EB4A-1656A1E20C14}"/>
          </ac:spMkLst>
        </pc:spChg>
        <pc:spChg chg="del">
          <ac:chgData name="Dann Bleeker Pedersen" userId="34252400-a232-4440-8831-8cadcf57ce35" providerId="ADAL" clId="{5D18C0C2-102A-4970-B33C-1D15BE2F2270}" dt="2026-07-11T17:08:05.618" v="1061"/>
          <ac:spMkLst>
            <pc:docMk/>
            <pc:sldMk cId="3868029881" sldId="502"/>
            <ac:spMk id="28" creationId="{5D720D18-87F1-A19A-3366-5C328BA7AA3A}"/>
          </ac:spMkLst>
        </pc:spChg>
        <pc:spChg chg="del">
          <ac:chgData name="Dann Bleeker Pedersen" userId="34252400-a232-4440-8831-8cadcf57ce35" providerId="ADAL" clId="{5D18C0C2-102A-4970-B33C-1D15BE2F2270}" dt="2026-07-11T17:08:05.619" v="1065"/>
          <ac:spMkLst>
            <pc:docMk/>
            <pc:sldMk cId="3868029881" sldId="502"/>
            <ac:spMk id="29" creationId="{DEB7C7F5-6EFC-B425-2A91-3C264B38BACE}"/>
          </ac:spMkLst>
        </pc:spChg>
        <pc:spChg chg="add del">
          <ac:chgData name="Dann Bleeker Pedersen" userId="34252400-a232-4440-8831-8cadcf57ce35" providerId="ADAL" clId="{5D18C0C2-102A-4970-B33C-1D15BE2F2270}" dt="2026-07-11T17:08:19.441" v="1069" actId="478"/>
          <ac:spMkLst>
            <pc:docMk/>
            <pc:sldMk cId="3868029881" sldId="502"/>
            <ac:spMk id="34" creationId="{977A8562-7DBB-FCFC-ADF1-89BB3A7EF5F2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39" creationId="{F5A8B1BF-0977-30C3-C58D-141FF948AD0B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2" creationId="{F17DA4B0-6D51-A70B-B7F5-194E34C9AFA2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5" creationId="{29D4842A-8759-62A6-83EF-FDC7C9F4D9DB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7" creationId="{4B5191FE-ECB7-B4C8-CE56-D1D0728B60A3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9" creationId="{80AF37D2-BD4F-778E-A12F-338D55A78EF6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0" creationId="{0ABF1314-6864-28BE-CF15-901E95562658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1" creationId="{18262CAB-54EE-2BBF-ED04-F25773F6AF37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5" creationId="{02AFB90C-1248-6F95-7911-659EE7DBFA34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8" creationId="{70F4BE29-2063-0E5A-594D-195A88E65FE4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60" creationId="{C11D96E6-FFE6-29A1-73EE-FA36D8326D8B}"/>
          </ac:spMkLst>
        </pc:spChg>
        <pc:graphicFrameChg chg="del">
          <ac:chgData name="Dann Bleeker Pedersen" userId="34252400-a232-4440-8831-8cadcf57ce35" providerId="ADAL" clId="{5D18C0C2-102A-4970-B33C-1D15BE2F2270}" dt="2026-07-11T17:08:05.613" v="1049"/>
          <ac:graphicFrameMkLst>
            <pc:docMk/>
            <pc:sldMk cId="3868029881" sldId="502"/>
            <ac:graphicFrameMk id="20" creationId="{C3937953-BA3D-2F9A-080E-B0138F69FF32}"/>
          </ac:graphicFrameMkLst>
        </pc:graphicFrameChg>
        <pc:graphicFrameChg chg="del">
          <ac:chgData name="Dann Bleeker Pedersen" userId="34252400-a232-4440-8831-8cadcf57ce35" providerId="ADAL" clId="{5D18C0C2-102A-4970-B33C-1D15BE2F2270}" dt="2026-07-11T17:08:05.601" v="1027"/>
          <ac:graphicFrameMkLst>
            <pc:docMk/>
            <pc:sldMk cId="3868029881" sldId="502"/>
            <ac:graphicFrameMk id="32" creationId="{53AAB3C6-8D42-0DFB-01DF-A71D9218419D}"/>
          </ac:graphicFrameMkLst>
        </pc:graphicFrameChg>
        <pc:graphicFrameChg chg="mod">
          <ac:chgData name="Dann Bleeker Pedersen" userId="34252400-a232-4440-8831-8cadcf57ce35" providerId="ADAL" clId="{5D18C0C2-102A-4970-B33C-1D15BE2F2270}" dt="2026-07-11T17:08:05.624" v="1067"/>
          <ac:graphicFrameMkLst>
            <pc:docMk/>
            <pc:sldMk cId="3868029881" sldId="502"/>
            <ac:graphicFrameMk id="33" creationId="{36F215AC-B39D-7AC7-6E0B-E9883557E5D6}"/>
          </ac:graphicFrameMkLst>
        </pc:graphicFrameChg>
        <pc:cxnChg chg="del">
          <ac:chgData name="Dann Bleeker Pedersen" userId="34252400-a232-4440-8831-8cadcf57ce35" providerId="ADAL" clId="{5D18C0C2-102A-4970-B33C-1D15BE2F2270}" dt="2026-07-11T17:08:05.598" v="1023"/>
          <ac:cxnSpMkLst>
            <pc:docMk/>
            <pc:sldMk cId="3868029881" sldId="502"/>
            <ac:cxnSpMk id="9" creationId="{04EB0C22-FCDE-E273-0963-FDC79A326190}"/>
          </ac:cxnSpMkLst>
        </pc:cxnChg>
        <pc:cxnChg chg="del">
          <ac:chgData name="Dann Bleeker Pedersen" userId="34252400-a232-4440-8831-8cadcf57ce35" providerId="ADAL" clId="{5D18C0C2-102A-4970-B33C-1D15BE2F2270}" dt="2026-07-11T17:08:05.596" v="1020"/>
          <ac:cxnSpMkLst>
            <pc:docMk/>
            <pc:sldMk cId="3868029881" sldId="502"/>
            <ac:cxnSpMk id="10" creationId="{CCBD46D5-8658-DD63-1C0C-BA07C021CAAA}"/>
          </ac:cxnSpMkLst>
        </pc:cxnChg>
        <pc:cxnChg chg="del">
          <ac:chgData name="Dann Bleeker Pedersen" userId="34252400-a232-4440-8831-8cadcf57ce35" providerId="ADAL" clId="{5D18C0C2-102A-4970-B33C-1D15BE2F2270}" dt="2026-07-11T17:08:05.594" v="1016"/>
          <ac:cxnSpMkLst>
            <pc:docMk/>
            <pc:sldMk cId="3868029881" sldId="502"/>
            <ac:cxnSpMk id="12" creationId="{42A3A742-71B6-8809-9BA4-B11E3C1B5121}"/>
          </ac:cxnSpMkLst>
        </pc:cxnChg>
        <pc:cxnChg chg="del">
          <ac:chgData name="Dann Bleeker Pedersen" userId="34252400-a232-4440-8831-8cadcf57ce35" providerId="ADAL" clId="{5D18C0C2-102A-4970-B33C-1D15BE2F2270}" dt="2026-07-11T17:08:05.616" v="1057"/>
          <ac:cxnSpMkLst>
            <pc:docMk/>
            <pc:sldMk cId="3868029881" sldId="502"/>
            <ac:cxnSpMk id="26" creationId="{AF87B243-88B2-F6B0-23B1-677F47593ECC}"/>
          </ac:cxnSpMkLst>
        </pc:cxnChg>
        <pc:cxnChg chg="del">
          <ac:chgData name="Dann Bleeker Pedersen" userId="34252400-a232-4440-8831-8cadcf57ce35" providerId="ADAL" clId="{5D18C0C2-102A-4970-B33C-1D15BE2F2270}" dt="2026-07-11T17:08:05.619" v="1063"/>
          <ac:cxnSpMkLst>
            <pc:docMk/>
            <pc:sldMk cId="3868029881" sldId="502"/>
            <ac:cxnSpMk id="30" creationId="{D5017C09-4B90-2AC7-0651-313430C2CADD}"/>
          </ac:cxnSpMkLst>
        </pc:cxnChg>
      </pc:sldChg>
      <pc:sldChg chg="add del">
        <pc:chgData name="Dann Bleeker Pedersen" userId="34252400-a232-4440-8831-8cadcf57ce35" providerId="ADAL" clId="{5D18C0C2-102A-4970-B33C-1D15BE2F2270}" dt="2026-07-11T17:11:51.236" v="1077"/>
        <pc:sldMkLst>
          <pc:docMk/>
          <pc:sldMk cId="61836052" sldId="503"/>
        </pc:sldMkLst>
      </pc:sldChg>
      <pc:sldChg chg="add del">
        <pc:chgData name="Dann Bleeker Pedersen" userId="34252400-a232-4440-8831-8cadcf57ce35" providerId="ADAL" clId="{5D18C0C2-102A-4970-B33C-1D15BE2F2270}" dt="2026-07-11T17:11:52.327" v="1079"/>
        <pc:sldMkLst>
          <pc:docMk/>
          <pc:sldMk cId="1878912103" sldId="504"/>
        </pc:sldMkLst>
      </pc:sldChg>
      <pc:sldChg chg="modSp add del mod">
        <pc:chgData name="Dann Bleeker Pedersen" userId="34252400-a232-4440-8831-8cadcf57ce35" providerId="ADAL" clId="{5D18C0C2-102A-4970-B33C-1D15BE2F2270}" dt="2026-07-11T18:20:27.864" v="2823"/>
        <pc:sldMkLst>
          <pc:docMk/>
          <pc:sldMk cId="417760443" sldId="505"/>
        </pc:sldMkLst>
        <pc:spChg chg="mod">
          <ac:chgData name="Dann Bleeker Pedersen" userId="34252400-a232-4440-8831-8cadcf57ce35" providerId="ADAL" clId="{5D18C0C2-102A-4970-B33C-1D15BE2F2270}" dt="2026-07-11T17:12:25.029" v="1135" actId="20577"/>
          <ac:spMkLst>
            <pc:docMk/>
            <pc:sldMk cId="417760443" sldId="505"/>
            <ac:spMk id="3" creationId="{BEFAA4B4-4D9C-4071-B2D3-C4C4D381634B}"/>
          </ac:spMkLst>
        </pc:spChg>
      </pc:sldChg>
      <pc:sldChg chg="addSp modSp new mod ord modShow">
        <pc:chgData name="Dann Bleeker Pedersen" userId="34252400-a232-4440-8831-8cadcf57ce35" providerId="ADAL" clId="{5D18C0C2-102A-4970-B33C-1D15BE2F2270}" dt="2026-07-11T19:56:48.766" v="3062" actId="729"/>
        <pc:sldMkLst>
          <pc:docMk/>
          <pc:sldMk cId="3026754549" sldId="506"/>
        </pc:sldMkLst>
        <pc:spChg chg="mod">
          <ac:chgData name="Dann Bleeker Pedersen" userId="34252400-a232-4440-8831-8cadcf57ce35" providerId="ADAL" clId="{5D18C0C2-102A-4970-B33C-1D15BE2F2270}" dt="2026-07-11T19:56:45.910" v="3061" actId="299"/>
          <ac:spMkLst>
            <pc:docMk/>
            <pc:sldMk cId="3026754549" sldId="506"/>
            <ac:spMk id="2" creationId="{9F7DEA41-D0FA-9209-956D-C767A83316B1}"/>
          </ac:spMkLst>
        </pc:spChg>
        <pc:spChg chg="mod ord">
          <ac:chgData name="Dann Bleeker Pedersen" userId="34252400-a232-4440-8831-8cadcf57ce35" providerId="ADAL" clId="{5D18C0C2-102A-4970-B33C-1D15BE2F2270}" dt="2026-07-11T18:38:33.162" v="2984" actId="13244"/>
          <ac:spMkLst>
            <pc:docMk/>
            <pc:sldMk cId="3026754549" sldId="506"/>
            <ac:spMk id="4" creationId="{EC8ED3DB-9420-C034-F518-7D00E21896E6}"/>
          </ac:spMkLst>
        </pc:spChg>
        <pc:spChg chg="mod">
          <ac:chgData name="Dann Bleeker Pedersen" userId="34252400-a232-4440-8831-8cadcf57ce35" providerId="ADAL" clId="{5D18C0C2-102A-4970-B33C-1D15BE2F2270}" dt="2026-07-11T17:42:08.412" v="1186" actId="207"/>
          <ac:spMkLst>
            <pc:docMk/>
            <pc:sldMk cId="3026754549" sldId="506"/>
            <ac:spMk id="5" creationId="{BDAC000D-F280-BCEB-074F-ECBE1C8BD70C}"/>
          </ac:spMkLst>
        </pc:spChg>
        <pc:spChg chg="mod">
          <ac:chgData name="Dann Bleeker Pedersen" userId="34252400-a232-4440-8831-8cadcf57ce35" providerId="ADAL" clId="{5D18C0C2-102A-4970-B33C-1D15BE2F2270}" dt="2026-07-11T17:43:40.541" v="1198" actId="208"/>
          <ac:spMkLst>
            <pc:docMk/>
            <pc:sldMk cId="3026754549" sldId="506"/>
            <ac:spMk id="6" creationId="{164D1AE1-2355-A385-AF3F-DC74C4D6C7B1}"/>
          </ac:spMkLst>
        </pc:spChg>
        <pc:spChg chg="mod">
          <ac:chgData name="Dann Bleeker Pedersen" userId="34252400-a232-4440-8831-8cadcf57ce35" providerId="ADAL" clId="{5D18C0C2-102A-4970-B33C-1D15BE2F2270}" dt="2026-07-11T17:42:08.412" v="1186" actId="207"/>
          <ac:spMkLst>
            <pc:docMk/>
            <pc:sldMk cId="3026754549" sldId="506"/>
            <ac:spMk id="7" creationId="{CE2B2EA0-AF32-F64F-E507-1E3952E7EABC}"/>
          </ac:spMkLst>
        </pc:spChg>
        <pc:spChg chg="add mod">
          <ac:chgData name="Dann Bleeker Pedersen" userId="34252400-a232-4440-8831-8cadcf57ce35" providerId="ADAL" clId="{5D18C0C2-102A-4970-B33C-1D15BE2F2270}" dt="2026-07-11T17:43:40.541" v="1198" actId="208"/>
          <ac:spMkLst>
            <pc:docMk/>
            <pc:sldMk cId="3026754549" sldId="506"/>
            <ac:spMk id="8" creationId="{9CDDEF4F-7F08-E733-46A3-0B401F6B16EB}"/>
          </ac:spMkLst>
        </pc:spChg>
        <pc:spChg chg="add mod">
          <ac:chgData name="Dann Bleeker Pedersen" userId="34252400-a232-4440-8831-8cadcf57ce35" providerId="ADAL" clId="{5D18C0C2-102A-4970-B33C-1D15BE2F2270}" dt="2026-07-11T17:42:08.412" v="1186" actId="207"/>
          <ac:spMkLst>
            <pc:docMk/>
            <pc:sldMk cId="3026754549" sldId="506"/>
            <ac:spMk id="9" creationId="{BFC1D1DD-FB87-BFCF-1EB6-3D2C3F8BD7B9}"/>
          </ac:spMkLst>
        </pc:spChg>
        <pc:spChg chg="mod">
          <ac:chgData name="Dann Bleeker Pedersen" userId="34252400-a232-4440-8831-8cadcf57ce35" providerId="ADAL" clId="{5D18C0C2-102A-4970-B33C-1D15BE2F2270}" dt="2026-07-11T17:42:51.011" v="1197" actId="20577"/>
          <ac:spMkLst>
            <pc:docMk/>
            <pc:sldMk cId="3026754549" sldId="506"/>
            <ac:spMk id="10" creationId="{9C38B6F1-708A-F00E-9E83-E6A0F9E5D8AD}"/>
          </ac:spMkLst>
        </pc:spChg>
        <pc:spChg chg="mod">
          <ac:chgData name="Dann Bleeker Pedersen" userId="34252400-a232-4440-8831-8cadcf57ce35" providerId="ADAL" clId="{5D18C0C2-102A-4970-B33C-1D15BE2F2270}" dt="2026-07-11T17:42:24.917" v="1188" actId="113"/>
          <ac:spMkLst>
            <pc:docMk/>
            <pc:sldMk cId="3026754549" sldId="506"/>
            <ac:spMk id="11" creationId="{7AFA8286-8460-8A2B-8320-26353F03B09A}"/>
          </ac:spMkLst>
        </pc:spChg>
        <pc:spChg chg="add mod">
          <ac:chgData name="Dann Bleeker Pedersen" userId="34252400-a232-4440-8831-8cadcf57ce35" providerId="ADAL" clId="{5D18C0C2-102A-4970-B33C-1D15BE2F2270}" dt="2026-07-11T17:41:42.565" v="1165"/>
          <ac:spMkLst>
            <pc:docMk/>
            <pc:sldMk cId="3026754549" sldId="506"/>
            <ac:spMk id="12" creationId="{D952A074-9681-D825-739B-BB784BC99363}"/>
          </ac:spMkLst>
        </pc:spChg>
        <pc:spChg chg="add mod">
          <ac:chgData name="Dann Bleeker Pedersen" userId="34252400-a232-4440-8831-8cadcf57ce35" providerId="ADAL" clId="{5D18C0C2-102A-4970-B33C-1D15BE2F2270}" dt="2026-07-11T17:42:24.917" v="1188" actId="113"/>
          <ac:spMkLst>
            <pc:docMk/>
            <pc:sldMk cId="3026754549" sldId="506"/>
            <ac:spMk id="13" creationId="{E2DA2A4E-18B2-0E69-413F-61390A488B03}"/>
          </ac:spMkLst>
        </pc:spChg>
        <pc:spChg chg="add mod">
          <ac:chgData name="Dann Bleeker Pedersen" userId="34252400-a232-4440-8831-8cadcf57ce35" providerId="ADAL" clId="{5D18C0C2-102A-4970-B33C-1D15BE2F2270}" dt="2026-07-11T17:41:42.565" v="1165"/>
          <ac:spMkLst>
            <pc:docMk/>
            <pc:sldMk cId="3026754549" sldId="506"/>
            <ac:spMk id="14" creationId="{B6FC2705-5B0D-8427-42AF-876112C312CD}"/>
          </ac:spMkLst>
        </pc:spChg>
        <pc:spChg chg="add mod">
          <ac:chgData name="Dann Bleeker Pedersen" userId="34252400-a232-4440-8831-8cadcf57ce35" providerId="ADAL" clId="{5D18C0C2-102A-4970-B33C-1D15BE2F2270}" dt="2026-07-11T17:42:24.917" v="1188" actId="113"/>
          <ac:spMkLst>
            <pc:docMk/>
            <pc:sldMk cId="3026754549" sldId="506"/>
            <ac:spMk id="15" creationId="{764B9D76-DEF8-82DE-EA5B-641698C982C2}"/>
          </ac:spMkLst>
        </pc:spChg>
        <pc:spChg chg="add mod">
          <ac:chgData name="Dann Bleeker Pedersen" userId="34252400-a232-4440-8831-8cadcf57ce35" providerId="ADAL" clId="{5D18C0C2-102A-4970-B33C-1D15BE2F2270}" dt="2026-07-11T17:41:42.565" v="1165"/>
          <ac:spMkLst>
            <pc:docMk/>
            <pc:sldMk cId="3026754549" sldId="506"/>
            <ac:spMk id="18" creationId="{9A02EC19-96A8-4F27-5C17-4873D6F14BA5}"/>
          </ac:spMkLst>
        </pc:spChg>
        <pc:spChg chg="mod">
          <ac:chgData name="Dann Bleeker Pedersen" userId="34252400-a232-4440-8831-8cadcf57ce35" providerId="ADAL" clId="{5D18C0C2-102A-4970-B33C-1D15BE2F2270}" dt="2026-07-11T17:43:40.541" v="1198" actId="208"/>
          <ac:spMkLst>
            <pc:docMk/>
            <pc:sldMk cId="3026754549" sldId="506"/>
            <ac:spMk id="20" creationId="{16B1B8C7-7528-9224-D415-6EB2E9113EA4}"/>
          </ac:spMkLst>
        </pc:spChg>
        <pc:spChg chg="add mod">
          <ac:chgData name="Dann Bleeker Pedersen" userId="34252400-a232-4440-8831-8cadcf57ce35" providerId="ADAL" clId="{5D18C0C2-102A-4970-B33C-1D15BE2F2270}" dt="2026-07-11T17:42:08.412" v="1186" actId="207"/>
          <ac:spMkLst>
            <pc:docMk/>
            <pc:sldMk cId="3026754549" sldId="506"/>
            <ac:spMk id="21" creationId="{B044937E-13C8-3160-BD16-2611F9F0B842}"/>
          </ac:spMkLst>
        </pc:spChg>
        <pc:spChg chg="add mod">
          <ac:chgData name="Dann Bleeker Pedersen" userId="34252400-a232-4440-8831-8cadcf57ce35" providerId="ADAL" clId="{5D18C0C2-102A-4970-B33C-1D15BE2F2270}" dt="2026-07-11T17:41:42.565" v="1165"/>
          <ac:spMkLst>
            <pc:docMk/>
            <pc:sldMk cId="3026754549" sldId="506"/>
            <ac:spMk id="22" creationId="{CEB9DDF1-1178-B300-931D-C74F2914A6CE}"/>
          </ac:spMkLst>
        </pc:spChg>
        <pc:spChg chg="add mod">
          <ac:chgData name="Dann Bleeker Pedersen" userId="34252400-a232-4440-8831-8cadcf57ce35" providerId="ADAL" clId="{5D18C0C2-102A-4970-B33C-1D15BE2F2270}" dt="2026-07-11T17:42:24.917" v="1188" actId="113"/>
          <ac:spMkLst>
            <pc:docMk/>
            <pc:sldMk cId="3026754549" sldId="506"/>
            <ac:spMk id="23" creationId="{B5C20073-BB60-8789-79AC-3A1774C67FFB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8:38:34.354" v="2988"/>
          <ac:graphicFrameMkLst>
            <pc:docMk/>
            <pc:sldMk cId="3026754549" sldId="506"/>
            <ac:graphicFrameMk id="24" creationId="{C2589C26-A54E-4C24-3753-D41C897A393B}"/>
          </ac:graphicFrameMkLst>
        </pc:graphicFrameChg>
      </pc:sldChg>
      <pc:sldChg chg="addSp delSp modSp new mod">
        <pc:chgData name="Dann Bleeker Pedersen" userId="34252400-a232-4440-8831-8cadcf57ce35" providerId="ADAL" clId="{5D18C0C2-102A-4970-B33C-1D15BE2F2270}" dt="2026-07-11T20:00:49.797" v="3121"/>
        <pc:sldMkLst>
          <pc:docMk/>
          <pc:sldMk cId="2677751958" sldId="507"/>
        </pc:sldMkLst>
        <pc:spChg chg="mod">
          <ac:chgData name="Dann Bleeker Pedersen" userId="34252400-a232-4440-8831-8cadcf57ce35" providerId="ADAL" clId="{5D18C0C2-102A-4970-B33C-1D15BE2F2270}" dt="2026-07-11T19:59:18.998" v="3095" actId="299"/>
          <ac:spMkLst>
            <pc:docMk/>
            <pc:sldMk cId="2677751958" sldId="507"/>
            <ac:spMk id="2" creationId="{C1C4106D-1328-FAA1-214F-9E9E0EA49A63}"/>
          </ac:spMkLst>
        </pc:spChg>
        <pc:spChg chg="add mod">
          <ac:chgData name="Dann Bleeker Pedersen" userId="34252400-a232-4440-8831-8cadcf57ce35" providerId="ADAL" clId="{5D18C0C2-102A-4970-B33C-1D15BE2F2270}" dt="2026-07-11T20:00:49.797" v="3121"/>
          <ac:spMkLst>
            <pc:docMk/>
            <pc:sldMk cId="2677751958" sldId="507"/>
            <ac:spMk id="11" creationId="{0B58D670-C06D-95D9-4869-DD1E66F548F6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3:56.418" v="1217"/>
          <ac:graphicFrameMkLst>
            <pc:docMk/>
            <pc:sldMk cId="2677751958" sldId="507"/>
            <ac:graphicFrameMk id="4" creationId="{756A93BD-5E0A-A669-24B4-8618D4F62EB2}"/>
          </ac:graphicFrameMkLst>
        </pc:graphicFrameChg>
        <pc:graphicFrameChg chg="add del mod modGraphic">
          <ac:chgData name="Dann Bleeker Pedersen" userId="34252400-a232-4440-8831-8cadcf57ce35" providerId="ADAL" clId="{5D18C0C2-102A-4970-B33C-1D15BE2F2270}" dt="2026-07-11T19:59:35.222" v="3096" actId="478"/>
          <ac:graphicFrameMkLst>
            <pc:docMk/>
            <pc:sldMk cId="2677751958" sldId="507"/>
            <ac:graphicFrameMk id="5" creationId="{909688AF-145E-63E4-A58E-7E9EDA252130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20:00:19.413" v="3119" actId="14734"/>
          <ac:graphicFrameMkLst>
            <pc:docMk/>
            <pc:sldMk cId="2677751958" sldId="507"/>
            <ac:graphicFrameMk id="10" creationId="{0CC57F05-3F0F-24C0-A837-2021EA11A84D}"/>
          </ac:graphicFrameMkLst>
        </pc:graphicFrameChg>
        <pc:picChg chg="add del mod">
          <ac:chgData name="Dann Bleeker Pedersen" userId="34252400-a232-4440-8831-8cadcf57ce35" providerId="ADAL" clId="{5D18C0C2-102A-4970-B33C-1D15BE2F2270}" dt="2026-07-11T19:59:39.432" v="3097" actId="478"/>
          <ac:picMkLst>
            <pc:docMk/>
            <pc:sldMk cId="2677751958" sldId="507"/>
            <ac:picMk id="6" creationId="{D2C3EB92-F94D-6CAA-6B7E-29B6D7B5E61C}"/>
          </ac:picMkLst>
        </pc:picChg>
        <pc:picChg chg="add del mod">
          <ac:chgData name="Dann Bleeker Pedersen" userId="34252400-a232-4440-8831-8cadcf57ce35" providerId="ADAL" clId="{5D18C0C2-102A-4970-B33C-1D15BE2F2270}" dt="2026-07-11T19:59:39.432" v="3097" actId="478"/>
          <ac:picMkLst>
            <pc:docMk/>
            <pc:sldMk cId="2677751958" sldId="507"/>
            <ac:picMk id="7" creationId="{07C1EF4F-DC4A-9046-E8D8-992DC4D7FCF4}"/>
          </ac:picMkLst>
        </pc:picChg>
        <pc:picChg chg="add del mod">
          <ac:chgData name="Dann Bleeker Pedersen" userId="34252400-a232-4440-8831-8cadcf57ce35" providerId="ADAL" clId="{5D18C0C2-102A-4970-B33C-1D15BE2F2270}" dt="2026-07-11T19:59:39.432" v="3097" actId="478"/>
          <ac:picMkLst>
            <pc:docMk/>
            <pc:sldMk cId="2677751958" sldId="507"/>
            <ac:picMk id="8" creationId="{5C629FE9-F9DC-ED8E-DB48-CB929297A2ED}"/>
          </ac:picMkLst>
        </pc:picChg>
        <pc:picChg chg="add del mod">
          <ac:chgData name="Dann Bleeker Pedersen" userId="34252400-a232-4440-8831-8cadcf57ce35" providerId="ADAL" clId="{5D18C0C2-102A-4970-B33C-1D15BE2F2270}" dt="2026-07-11T19:59:39.432" v="3097" actId="478"/>
          <ac:picMkLst>
            <pc:docMk/>
            <pc:sldMk cId="2677751958" sldId="507"/>
            <ac:picMk id="9" creationId="{ACFC959B-0A9D-4846-139F-5603828225AC}"/>
          </ac:picMkLst>
        </pc:picChg>
      </pc:sldChg>
      <pc:sldChg chg="addSp modSp new del mod">
        <pc:chgData name="Dann Bleeker Pedersen" userId="34252400-a232-4440-8831-8cadcf57ce35" providerId="ADAL" clId="{5D18C0C2-102A-4970-B33C-1D15BE2F2270}" dt="2026-07-11T20:08:26.470" v="4261" actId="47"/>
        <pc:sldMkLst>
          <pc:docMk/>
          <pc:sldMk cId="1186501440" sldId="508"/>
        </pc:sldMkLst>
        <pc:spChg chg="mod">
          <ac:chgData name="Dann Bleeker Pedersen" userId="34252400-a232-4440-8831-8cadcf57ce35" providerId="ADAL" clId="{5D18C0C2-102A-4970-B33C-1D15BE2F2270}" dt="2026-07-11T17:45:25.874" v="1257" actId="299"/>
          <ac:spMkLst>
            <pc:docMk/>
            <pc:sldMk cId="1186501440" sldId="508"/>
            <ac:spMk id="2" creationId="{C0A50555-7555-48C4-1326-4BA94CD47C0E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7" creationId="{675B6F14-2248-238B-F42C-1F6062442500}"/>
          </ac:spMkLst>
        </pc:spChg>
        <pc:spChg chg="mod">
          <ac:chgData name="Dann Bleeker Pedersen" userId="34252400-a232-4440-8831-8cadcf57ce35" providerId="ADAL" clId="{5D18C0C2-102A-4970-B33C-1D15BE2F2270}" dt="2026-07-11T17:46:06.177" v="1282" actId="20577"/>
          <ac:spMkLst>
            <pc:docMk/>
            <pc:sldMk cId="1186501440" sldId="508"/>
            <ac:spMk id="9" creationId="{5080C661-4D6F-B251-5EC4-9494BEAB70BF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11" creationId="{8DDBC2AE-D4CC-7A07-E395-BAA95025284B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33" creationId="{A776BDBF-E1DF-B386-68C4-899B8D702DDC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34" creationId="{17B79D99-DA36-A484-BCA5-38F71DDE7382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35" creationId="{943165B3-069E-C594-58D7-DA46E89449EE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40" creationId="{83AF0BBF-10D5-CFD2-1E40-0DD360424822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42" creationId="{3AF732E1-6710-4EAE-0671-056A58774362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48" creationId="{6835CA35-996F-450D-D984-5B74E3984316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51" creationId="{DB2D684A-6557-3D42-1508-8FE35DF8C852}"/>
          </ac:spMkLst>
        </pc:spChg>
        <pc:spChg chg="add mod">
          <ac:chgData name="Dann Bleeker Pedersen" userId="34252400-a232-4440-8831-8cadcf57ce35" providerId="ADAL" clId="{5D18C0C2-102A-4970-B33C-1D15BE2F2270}" dt="2026-07-11T17:45:47.760" v="1273" actId="1076"/>
          <ac:spMkLst>
            <pc:docMk/>
            <pc:sldMk cId="1186501440" sldId="508"/>
            <ac:spMk id="53" creationId="{711BFF25-7F1C-DF7D-3CE9-DC905B634EDB}"/>
          </ac:spMkLst>
        </pc:spChg>
        <pc:spChg chg="add mod">
          <ac:chgData name="Dann Bleeker Pedersen" userId="34252400-a232-4440-8831-8cadcf57ce35" providerId="ADAL" clId="{5D18C0C2-102A-4970-B33C-1D15BE2F2270}" dt="2026-07-11T20:00:45.764" v="3120"/>
          <ac:spMkLst>
            <pc:docMk/>
            <pc:sldMk cId="1186501440" sldId="508"/>
            <ac:spMk id="55" creationId="{E9B5F87E-7409-9B58-E028-10D701563685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5:25.896" v="1271"/>
          <ac:graphicFrameMkLst>
            <pc:docMk/>
            <pc:sldMk cId="1186501440" sldId="508"/>
            <ac:graphicFrameMk id="4" creationId="{370E1352-C60E-B750-AF31-900FE69E461A}"/>
          </ac:graphicFrameMkLst>
        </pc:graphicFrameChg>
      </pc:sldChg>
      <pc:sldChg chg="addSp modSp new del mod">
        <pc:chgData name="Dann Bleeker Pedersen" userId="34252400-a232-4440-8831-8cadcf57ce35" providerId="ADAL" clId="{5D18C0C2-102A-4970-B33C-1D15BE2F2270}" dt="2026-07-11T20:08:26.470" v="4261" actId="47"/>
        <pc:sldMkLst>
          <pc:docMk/>
          <pc:sldMk cId="3956477892" sldId="509"/>
        </pc:sldMkLst>
        <pc:spChg chg="mod">
          <ac:chgData name="Dann Bleeker Pedersen" userId="34252400-a232-4440-8831-8cadcf57ce35" providerId="ADAL" clId="{5D18C0C2-102A-4970-B33C-1D15BE2F2270}" dt="2026-07-11T17:46:42.322" v="1289" actId="299"/>
          <ac:spMkLst>
            <pc:docMk/>
            <pc:sldMk cId="3956477892" sldId="509"/>
            <ac:spMk id="2" creationId="{0D9052B5-8538-8533-6A31-8732E14BE689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6:42.349" v="1303"/>
          <ac:graphicFrameMkLst>
            <pc:docMk/>
            <pc:sldMk cId="3956477892" sldId="509"/>
            <ac:graphicFrameMk id="4" creationId="{DADB2551-4294-1BC2-2B3A-1983A87106B6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47:18.488" v="1316" actId="20577"/>
          <ac:graphicFrameMkLst>
            <pc:docMk/>
            <pc:sldMk cId="3956477892" sldId="509"/>
            <ac:graphicFrameMk id="5" creationId="{832A9994-4D3E-C450-E3FD-039E78F55CA0}"/>
          </ac:graphicFrameMkLst>
        </pc:graphicFrameChg>
        <pc:graphicFrameChg chg="add mod">
          <ac:chgData name="Dann Bleeker Pedersen" userId="34252400-a232-4440-8831-8cadcf57ce35" providerId="ADAL" clId="{5D18C0C2-102A-4970-B33C-1D15BE2F2270}" dt="2026-07-11T17:46:54.596" v="1305" actId="1076"/>
          <ac:graphicFrameMkLst>
            <pc:docMk/>
            <pc:sldMk cId="3956477892" sldId="509"/>
            <ac:graphicFrameMk id="6" creationId="{B9AC9480-93C6-73D6-66DE-321F81F5D9B0}"/>
          </ac:graphicFrameMkLst>
        </pc:graphicFrameChg>
      </pc:sldChg>
      <pc:sldChg chg="addSp modSp new del mod">
        <pc:chgData name="Dann Bleeker Pedersen" userId="34252400-a232-4440-8831-8cadcf57ce35" providerId="ADAL" clId="{5D18C0C2-102A-4970-B33C-1D15BE2F2270}" dt="2026-07-11T20:08:26.470" v="4261" actId="47"/>
        <pc:sldMkLst>
          <pc:docMk/>
          <pc:sldMk cId="479947756" sldId="510"/>
        </pc:sldMkLst>
        <pc:spChg chg="mod">
          <ac:chgData name="Dann Bleeker Pedersen" userId="34252400-a232-4440-8831-8cadcf57ce35" providerId="ADAL" clId="{5D18C0C2-102A-4970-B33C-1D15BE2F2270}" dt="2026-07-11T17:47:48.967" v="1345"/>
          <ac:spMkLst>
            <pc:docMk/>
            <pc:sldMk cId="479947756" sldId="510"/>
            <ac:spMk id="2" creationId="{65E156D1-B2D7-679D-D1F6-93C4BC144AB7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7:41.753" v="1335"/>
          <ac:graphicFrameMkLst>
            <pc:docMk/>
            <pc:sldMk cId="479947756" sldId="510"/>
            <ac:graphicFrameMk id="4" creationId="{C2F96274-B1F7-787E-A4F3-43CB26C10247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48:06.735" v="1360" actId="20577"/>
          <ac:graphicFrameMkLst>
            <pc:docMk/>
            <pc:sldMk cId="479947756" sldId="510"/>
            <ac:graphicFrameMk id="5" creationId="{0D42A483-C022-D39D-20F4-13349EDFCC7B}"/>
          </ac:graphicFrameMkLst>
        </pc:graphicFrameChg>
      </pc:sldChg>
      <pc:sldChg chg="addSp modSp new del mod">
        <pc:chgData name="Dann Bleeker Pedersen" userId="34252400-a232-4440-8831-8cadcf57ce35" providerId="ADAL" clId="{5D18C0C2-102A-4970-B33C-1D15BE2F2270}" dt="2026-07-11T20:08:26.470" v="4261" actId="47"/>
        <pc:sldMkLst>
          <pc:docMk/>
          <pc:sldMk cId="964011469" sldId="511"/>
        </pc:sldMkLst>
        <pc:spChg chg="mod">
          <ac:chgData name="Dann Bleeker Pedersen" userId="34252400-a232-4440-8831-8cadcf57ce35" providerId="ADAL" clId="{5D18C0C2-102A-4970-B33C-1D15BE2F2270}" dt="2026-07-11T17:48:25.671" v="1365" actId="299"/>
          <ac:spMkLst>
            <pc:docMk/>
            <pc:sldMk cId="964011469" sldId="511"/>
            <ac:spMk id="2" creationId="{DA61DAAE-1341-C2D1-5C12-93480AD108AF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8:25.695" v="1379"/>
          <ac:graphicFrameMkLst>
            <pc:docMk/>
            <pc:sldMk cId="964011469" sldId="511"/>
            <ac:graphicFrameMk id="4" creationId="{B93CB62D-714E-8C94-101B-0BF69974A4DA}"/>
          </ac:graphicFrameMkLst>
        </pc:graphicFrameChg>
        <pc:picChg chg="add 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6" creationId="{25FA2322-5636-BE69-3E28-E6D9A3B3C25D}"/>
          </ac:picMkLst>
        </pc:picChg>
        <pc:picChg chg="add 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7" creationId="{71BE350F-E058-751D-1A86-2A2717522B47}"/>
          </ac:picMkLst>
        </pc:picChg>
        <pc:picChg chg="add 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8" creationId="{D6E3CD69-190F-3B1B-DED3-67832D71AACD}"/>
          </ac:picMkLst>
        </pc:picChg>
        <pc:picChg chg="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9" creationId="{FDE23A48-C09F-06E4-5CDE-5E8B2431BA1B}"/>
          </ac:picMkLst>
        </pc:picChg>
        <pc:picChg chg="add 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10" creationId="{7EE3C445-5B22-D173-6B7C-A459FFA9839D}"/>
          </ac:picMkLst>
        </pc:picChg>
        <pc:picChg chg="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11" creationId="{88CEF815-F6ED-2B46-1A52-1F63CD7D4E57}"/>
          </ac:picMkLst>
        </pc:picChg>
        <pc:picChg chg="add 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12" creationId="{21121685-C0C9-EE36-697A-1949B99D4D81}"/>
          </ac:picMkLst>
        </pc:picChg>
        <pc:picChg chg="mod">
          <ac:chgData name="Dann Bleeker Pedersen" userId="34252400-a232-4440-8831-8cadcf57ce35" providerId="ADAL" clId="{5D18C0C2-102A-4970-B33C-1D15BE2F2270}" dt="2026-07-11T17:49:09.433" v="1392" actId="1037"/>
          <ac:picMkLst>
            <pc:docMk/>
            <pc:sldMk cId="964011469" sldId="511"/>
            <ac:picMk id="13" creationId="{BF23A461-1083-6B1C-FF7E-76DCE74DD8E1}"/>
          </ac:picMkLst>
        </pc:picChg>
        <pc:picChg chg="add mod">
          <ac:chgData name="Dann Bleeker Pedersen" userId="34252400-a232-4440-8831-8cadcf57ce35" providerId="ADAL" clId="{5D18C0C2-102A-4970-B33C-1D15BE2F2270}" dt="2026-07-11T17:48:44.529" v="1381" actId="1076"/>
          <ac:picMkLst>
            <pc:docMk/>
            <pc:sldMk cId="964011469" sldId="511"/>
            <ac:picMk id="15" creationId="{B00364A1-53E3-F6B2-47FF-D77C67B03FB5}"/>
          </ac:picMkLst>
        </pc:picChg>
        <pc:picChg chg="add mod">
          <ac:chgData name="Dann Bleeker Pedersen" userId="34252400-a232-4440-8831-8cadcf57ce35" providerId="ADAL" clId="{5D18C0C2-102A-4970-B33C-1D15BE2F2270}" dt="2026-07-11T17:48:44.529" v="1381" actId="1076"/>
          <ac:picMkLst>
            <pc:docMk/>
            <pc:sldMk cId="964011469" sldId="511"/>
            <ac:picMk id="16" creationId="{B47C3972-670B-69EE-710A-46D5A53BB1E4}"/>
          </ac:picMkLst>
        </pc:picChg>
        <pc:picChg chg="add mod">
          <ac:chgData name="Dann Bleeker Pedersen" userId="34252400-a232-4440-8831-8cadcf57ce35" providerId="ADAL" clId="{5D18C0C2-102A-4970-B33C-1D15BE2F2270}" dt="2026-07-11T17:48:44.529" v="1381" actId="1076"/>
          <ac:picMkLst>
            <pc:docMk/>
            <pc:sldMk cId="964011469" sldId="511"/>
            <ac:picMk id="17" creationId="{98BFA460-1289-AACE-BD47-5AFDE8A63074}"/>
          </ac:picMkLst>
        </pc:picChg>
        <pc:picChg chg="add mod">
          <ac:chgData name="Dann Bleeker Pedersen" userId="34252400-a232-4440-8831-8cadcf57ce35" providerId="ADAL" clId="{5D18C0C2-102A-4970-B33C-1D15BE2F2270}" dt="2026-07-11T17:48:44.529" v="1381" actId="1076"/>
          <ac:picMkLst>
            <pc:docMk/>
            <pc:sldMk cId="964011469" sldId="511"/>
            <ac:picMk id="18" creationId="{49698D80-866A-AE4B-A825-C884DD7C4D5C}"/>
          </ac:picMkLst>
        </pc:picChg>
        <pc:picChg chg="add mod">
          <ac:chgData name="Dann Bleeker Pedersen" userId="34252400-a232-4440-8831-8cadcf57ce35" providerId="ADAL" clId="{5D18C0C2-102A-4970-B33C-1D15BE2F2270}" dt="2026-07-11T17:48:44.529" v="1381" actId="1076"/>
          <ac:picMkLst>
            <pc:docMk/>
            <pc:sldMk cId="964011469" sldId="511"/>
            <ac:picMk id="20" creationId="{81266416-687F-EE14-4F74-9F70118C0941}"/>
          </ac:picMkLst>
        </pc:picChg>
      </pc:sldChg>
      <pc:sldChg chg="addSp delSp modSp new del mod">
        <pc:chgData name="Dann Bleeker Pedersen" userId="34252400-a232-4440-8831-8cadcf57ce35" providerId="ADAL" clId="{5D18C0C2-102A-4970-B33C-1D15BE2F2270}" dt="2026-07-11T20:08:26.470" v="4261" actId="47"/>
        <pc:sldMkLst>
          <pc:docMk/>
          <pc:sldMk cId="2847938348" sldId="512"/>
        </pc:sldMkLst>
        <pc:spChg chg="mod">
          <ac:chgData name="Dann Bleeker Pedersen" userId="34252400-a232-4440-8831-8cadcf57ce35" providerId="ADAL" clId="{5D18C0C2-102A-4970-B33C-1D15BE2F2270}" dt="2026-07-11T17:49:28.547" v="1397" actId="299"/>
          <ac:spMkLst>
            <pc:docMk/>
            <pc:sldMk cId="2847938348" sldId="512"/>
            <ac:spMk id="2" creationId="{C2E2A379-5368-B92D-5659-EF6F5DAC4CF7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6" creationId="{E95218E8-3D39-EDD2-5267-60D338161A77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7" creationId="{FAD5B00D-1AE7-1E7A-BDF3-72B8C2BEC037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0" creationId="{9C2B57D3-0173-C4D1-08FF-45AD7CE075D5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2" creationId="{D899AFE5-2406-F63F-F2BC-E7740CA7FD02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6" creationId="{C10B0A67-BB67-648A-4C5B-9BDAC969E48E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7" creationId="{F6094EE5-93DA-2BB6-838D-8F4481BA348F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8" creationId="{A80E0789-6804-9C3C-2FB0-F7F40048623C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19" creationId="{E2B29CF9-B320-6DDC-4F13-2FAF73D1F8DB}"/>
          </ac:spMkLst>
        </pc:spChg>
        <pc:spChg chg="add del mod">
          <ac:chgData name="Dann Bleeker Pedersen" userId="34252400-a232-4440-8831-8cadcf57ce35" providerId="ADAL" clId="{5D18C0C2-102A-4970-B33C-1D15BE2F2270}" dt="2026-07-11T17:50:03.626" v="1430" actId="21"/>
          <ac:spMkLst>
            <pc:docMk/>
            <pc:sldMk cId="2847938348" sldId="512"/>
            <ac:spMk id="20" creationId="{D12B74CB-8DA7-81A1-8CB2-904F1056119A}"/>
          </ac:spMkLst>
        </pc:spChg>
        <pc:spChg chg="add mod">
          <ac:chgData name="Dann Bleeker Pedersen" userId="34252400-a232-4440-8831-8cadcf57ce35" providerId="ADAL" clId="{5D18C0C2-102A-4970-B33C-1D15BE2F2270}" dt="2026-07-11T17:49:50.631" v="1428" actId="1035"/>
          <ac:spMkLst>
            <pc:docMk/>
            <pc:sldMk cId="2847938348" sldId="512"/>
            <ac:spMk id="21" creationId="{74353732-B75E-5541-9A55-E7CEE76D5481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49:28.563" v="1411"/>
          <ac:graphicFrameMkLst>
            <pc:docMk/>
            <pc:sldMk cId="2847938348" sldId="512"/>
            <ac:graphicFrameMk id="4" creationId="{565366D7-20F7-DCAA-7CCF-58F67E4AF00B}"/>
          </ac:graphicFrameMkLst>
        </pc:graphicFrameChg>
      </pc:sldChg>
      <pc:sldChg chg="addSp modSp new del mod">
        <pc:chgData name="Dann Bleeker Pedersen" userId="34252400-a232-4440-8831-8cadcf57ce35" providerId="ADAL" clId="{5D18C0C2-102A-4970-B33C-1D15BE2F2270}" dt="2026-07-11T20:08:26.470" v="4261" actId="47"/>
        <pc:sldMkLst>
          <pc:docMk/>
          <pc:sldMk cId="1544252438" sldId="513"/>
        </pc:sldMkLst>
        <pc:spChg chg="mod">
          <ac:chgData name="Dann Bleeker Pedersen" userId="34252400-a232-4440-8831-8cadcf57ce35" providerId="ADAL" clId="{5D18C0C2-102A-4970-B33C-1D15BE2F2270}" dt="2026-07-11T17:50:41.688" v="1435" actId="299"/>
          <ac:spMkLst>
            <pc:docMk/>
            <pc:sldMk cId="1544252438" sldId="513"/>
            <ac:spMk id="2" creationId="{AF4EA599-3056-EB0B-4B4F-B128A6396A08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50:41.708" v="1449"/>
          <ac:graphicFrameMkLst>
            <pc:docMk/>
            <pc:sldMk cId="1544252438" sldId="513"/>
            <ac:graphicFrameMk id="4" creationId="{59CE4454-17A8-A451-ABB0-3F863E5195A7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51:33.186" v="1465" actId="20577"/>
          <ac:graphicFrameMkLst>
            <pc:docMk/>
            <pc:sldMk cId="1544252438" sldId="513"/>
            <ac:graphicFrameMk id="5" creationId="{C8985131-10AC-16C2-E6E2-3A93513FA5ED}"/>
          </ac:graphicFrameMkLst>
        </pc:graphicFrameChg>
      </pc:sldChg>
      <pc:sldChg chg="addSp delSp modSp new mod modClrScheme chgLayout">
        <pc:chgData name="Dann Bleeker Pedersen" userId="34252400-a232-4440-8831-8cadcf57ce35" providerId="ADAL" clId="{5D18C0C2-102A-4970-B33C-1D15BE2F2270}" dt="2026-07-11T19:55:51.962" v="3049" actId="948"/>
        <pc:sldMkLst>
          <pc:docMk/>
          <pc:sldMk cId="2097951462" sldId="514"/>
        </pc:sldMkLst>
        <pc:spChg chg="del mod ord">
          <ac:chgData name="Dann Bleeker Pedersen" userId="34252400-a232-4440-8831-8cadcf57ce35" providerId="ADAL" clId="{5D18C0C2-102A-4970-B33C-1D15BE2F2270}" dt="2026-07-11T17:52:41.211" v="1467" actId="700"/>
          <ac:spMkLst>
            <pc:docMk/>
            <pc:sldMk cId="2097951462" sldId="514"/>
            <ac:spMk id="2" creationId="{49F9CDAF-6362-BF67-79B5-9718E26B624F}"/>
          </ac:spMkLst>
        </pc:spChg>
        <pc:spChg chg="mod ord">
          <ac:chgData name="Dann Bleeker Pedersen" userId="34252400-a232-4440-8831-8cadcf57ce35" providerId="ADAL" clId="{5D18C0C2-102A-4970-B33C-1D15BE2F2270}" dt="2026-07-11T17:52:41.211" v="1467" actId="700"/>
          <ac:spMkLst>
            <pc:docMk/>
            <pc:sldMk cId="2097951462" sldId="514"/>
            <ac:spMk id="3" creationId="{E9FE0AD7-AA40-EFB6-8081-82AEFDD167D6}"/>
          </ac:spMkLst>
        </pc:spChg>
        <pc:spChg chg="add mod ord">
          <ac:chgData name="Dann Bleeker Pedersen" userId="34252400-a232-4440-8831-8cadcf57ce35" providerId="ADAL" clId="{5D18C0C2-102A-4970-B33C-1D15BE2F2270}" dt="2026-07-11T19:55:51.962" v="3049" actId="948"/>
          <ac:spMkLst>
            <pc:docMk/>
            <pc:sldMk cId="2097951462" sldId="514"/>
            <ac:spMk id="4" creationId="{F6E59CC5-0E40-3CCF-6152-681E14948C09}"/>
          </ac:spMkLst>
        </pc:spChg>
        <pc:spChg chg="add mod ord">
          <ac:chgData name="Dann Bleeker Pedersen" userId="34252400-a232-4440-8831-8cadcf57ce35" providerId="ADAL" clId="{5D18C0C2-102A-4970-B33C-1D15BE2F2270}" dt="2026-07-11T17:52:53.917" v="1511" actId="20577"/>
          <ac:spMkLst>
            <pc:docMk/>
            <pc:sldMk cId="2097951462" sldId="514"/>
            <ac:spMk id="5" creationId="{111C2FA2-BC40-4B78-B474-611A4C0AF256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52:41.753" v="1482"/>
          <ac:graphicFrameMkLst>
            <pc:docMk/>
            <pc:sldMk cId="2097951462" sldId="514"/>
            <ac:graphicFrameMk id="6" creationId="{01903DD8-7B0F-EEC1-E491-A0FB336789B1}"/>
          </ac:graphicFrameMkLst>
        </pc:graphicFrameChg>
      </pc:sldChg>
      <pc:sldChg chg="addSp delSp modSp new del mod modClrScheme chgLayout">
        <pc:chgData name="Dann Bleeker Pedersen" userId="34252400-a232-4440-8831-8cadcf57ce35" providerId="ADAL" clId="{5D18C0C2-102A-4970-B33C-1D15BE2F2270}" dt="2026-07-11T18:06:35.815" v="2660"/>
        <pc:sldMkLst>
          <pc:docMk/>
          <pc:sldMk cId="3360397781" sldId="515"/>
        </pc:sldMkLst>
        <pc:spChg chg="del mod ord">
          <ac:chgData name="Dann Bleeker Pedersen" userId="34252400-a232-4440-8831-8cadcf57ce35" providerId="ADAL" clId="{5D18C0C2-102A-4970-B33C-1D15BE2F2270}" dt="2026-07-11T17:53:33.570" v="1515" actId="700"/>
          <ac:spMkLst>
            <pc:docMk/>
            <pc:sldMk cId="3360397781" sldId="515"/>
            <ac:spMk id="2" creationId="{B06D0807-AF5E-6C88-2381-0BE3A2E88FD3}"/>
          </ac:spMkLst>
        </pc:spChg>
        <pc:spChg chg="del">
          <ac:chgData name="Dann Bleeker Pedersen" userId="34252400-a232-4440-8831-8cadcf57ce35" providerId="ADAL" clId="{5D18C0C2-102A-4970-B33C-1D15BE2F2270}" dt="2026-07-11T17:53:33.570" v="1515" actId="700"/>
          <ac:spMkLst>
            <pc:docMk/>
            <pc:sldMk cId="3360397781" sldId="515"/>
            <ac:spMk id="3" creationId="{292DEC39-F9E6-EC49-6D9E-E14BAF1BCF1C}"/>
          </ac:spMkLst>
        </pc:spChg>
        <pc:spChg chg="mod ord">
          <ac:chgData name="Dann Bleeker Pedersen" userId="34252400-a232-4440-8831-8cadcf57ce35" providerId="ADAL" clId="{5D18C0C2-102A-4970-B33C-1D15BE2F2270}" dt="2026-07-11T17:57:14.507" v="2211"/>
          <ac:spMkLst>
            <pc:docMk/>
            <pc:sldMk cId="3360397781" sldId="515"/>
            <ac:spMk id="4" creationId="{BC0A59C2-0AD9-A81D-DA47-0173FDD37396}"/>
          </ac:spMkLst>
        </pc:spChg>
        <pc:spChg chg="add mod ord">
          <ac:chgData name="Dann Bleeker Pedersen" userId="34252400-a232-4440-8831-8cadcf57ce35" providerId="ADAL" clId="{5D18C0C2-102A-4970-B33C-1D15BE2F2270}" dt="2026-07-11T17:57:14.506" v="2209"/>
          <ac:spMkLst>
            <pc:docMk/>
            <pc:sldMk cId="3360397781" sldId="515"/>
            <ac:spMk id="5" creationId="{91E9A235-C008-3422-F9B8-43884D388167}"/>
          </ac:spMkLst>
        </pc:spChg>
        <pc:spChg chg="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8" creationId="{EC4DD6B0-9939-4C22-4A87-7D8D8D53A5C0}"/>
          </ac:spMkLst>
        </pc:spChg>
        <pc:spChg chg="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9" creationId="{020F3ACD-E2DB-E978-4EAE-7104FFCB3408}"/>
          </ac:spMkLst>
        </pc:spChg>
        <pc:spChg chg="mod ord">
          <ac:chgData name="Dann Bleeker Pedersen" userId="34252400-a232-4440-8831-8cadcf57ce35" providerId="ADAL" clId="{5D18C0C2-102A-4970-B33C-1D15BE2F2270}" dt="2026-07-11T17:57:10.666" v="1942" actId="139"/>
          <ac:spMkLst>
            <pc:docMk/>
            <pc:sldMk cId="3360397781" sldId="515"/>
            <ac:spMk id="10" creationId="{FBE7E195-2A62-2884-B94D-F93281C95C99}"/>
          </ac:spMkLst>
        </pc:spChg>
        <pc:spChg chg="add mod ord">
          <ac:chgData name="Dann Bleeker Pedersen" userId="34252400-a232-4440-8831-8cadcf57ce35" providerId="ADAL" clId="{5D18C0C2-102A-4970-B33C-1D15BE2F2270}" dt="2026-07-11T17:57:10.663" v="1936" actId="139"/>
          <ac:spMkLst>
            <pc:docMk/>
            <pc:sldMk cId="3360397781" sldId="515"/>
            <ac:spMk id="12" creationId="{A3BA9D74-6D6B-1687-BE00-C71860472E15}"/>
          </ac:spMkLst>
        </pc:spChg>
        <pc:spChg chg="mod ord">
          <ac:chgData name="Dann Bleeker Pedersen" userId="34252400-a232-4440-8831-8cadcf57ce35" providerId="ADAL" clId="{5D18C0C2-102A-4970-B33C-1D15BE2F2270}" dt="2026-07-11T17:57:10.662" v="1932" actId="139"/>
          <ac:spMkLst>
            <pc:docMk/>
            <pc:sldMk cId="3360397781" sldId="515"/>
            <ac:spMk id="13" creationId="{A9A647EB-0AED-71C7-0F70-018C0F247BA3}"/>
          </ac:spMkLst>
        </pc:spChg>
        <pc:spChg chg="mod">
          <ac:chgData name="Dann Bleeker Pedersen" userId="34252400-a232-4440-8831-8cadcf57ce35" providerId="ADAL" clId="{5D18C0C2-102A-4970-B33C-1D15BE2F2270}" dt="2026-07-11T17:57:04.582" v="1789"/>
          <ac:spMkLst>
            <pc:docMk/>
            <pc:sldMk cId="3360397781" sldId="515"/>
            <ac:spMk id="15" creationId="{CE30CB05-169E-77A5-4BF7-7A3A549F4A10}"/>
          </ac:spMkLst>
        </pc:spChg>
        <pc:spChg chg="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16" creationId="{675211B3-9555-7503-81D2-F9FA9FF057D4}"/>
          </ac:spMkLst>
        </pc:spChg>
        <pc:spChg chg="add 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21" creationId="{3D84B945-8612-CF43-F896-FE64CD669BD8}"/>
          </ac:spMkLst>
        </pc:spChg>
        <pc:spChg chg="add 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22" creationId="{BE7624BD-E35D-8D7A-D1F0-F4D97607F557}"/>
          </ac:spMkLst>
        </pc:spChg>
        <pc:spChg chg="add mo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23" creationId="{D47918BA-9AE1-BAE8-5582-3E0BC6E0C7F3}"/>
          </ac:spMkLst>
        </pc:spChg>
        <pc:spChg chg="mod ord">
          <ac:chgData name="Dann Bleeker Pedersen" userId="34252400-a232-4440-8831-8cadcf57ce35" providerId="ADAL" clId="{5D18C0C2-102A-4970-B33C-1D15BE2F2270}" dt="2026-07-11T17:57:10.701" v="1989" actId="20577"/>
          <ac:spMkLst>
            <pc:docMk/>
            <pc:sldMk cId="3360397781" sldId="515"/>
            <ac:spMk id="24" creationId="{62939442-D528-9253-4229-AAA17B797025}"/>
          </ac:spMkLst>
        </pc:spChg>
        <pc:spChg chg="add mod or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25" creationId="{61B7C190-20C0-B53E-66EB-89285B3F6707}"/>
          </ac:spMkLst>
        </pc:spChg>
        <pc:spChg chg="add mod ord">
          <ac:chgData name="Dann Bleeker Pedersen" userId="34252400-a232-4440-8831-8cadcf57ce35" providerId="ADAL" clId="{5D18C0C2-102A-4970-B33C-1D15BE2F2270}" dt="2026-07-11T17:57:10.713" v="1990"/>
          <ac:spMkLst>
            <pc:docMk/>
            <pc:sldMk cId="3360397781" sldId="515"/>
            <ac:spMk id="26" creationId="{FFA7EBF2-2BBF-4EA1-FC84-D598EAA42C01}"/>
          </ac:spMkLst>
        </pc:spChg>
        <pc:spChg chg="add del mod modVis">
          <ac:chgData name="Dann Bleeker Pedersen" userId="34252400-a232-4440-8831-8cadcf57ce35" providerId="ADAL" clId="{5D18C0C2-102A-4970-B33C-1D15BE2F2270}" dt="2026-07-11T17:57:10.694" v="1982" actId="962"/>
          <ac:spMkLst>
            <pc:docMk/>
            <pc:sldMk cId="3360397781" sldId="515"/>
            <ac:spMk id="27" creationId="{B03D84C5-E485-2CCF-F07B-E4324F1D985B}"/>
          </ac:spMkLst>
        </pc:spChg>
        <pc:spChg chg="mod">
          <ac:chgData name="Dann Bleeker Pedersen" userId="34252400-a232-4440-8831-8cadcf57ce35" providerId="ADAL" clId="{5D18C0C2-102A-4970-B33C-1D15BE2F2270}" dt="2026-07-11T18:00:11.605" v="2311" actId="20577"/>
          <ac:spMkLst>
            <pc:docMk/>
            <pc:sldMk cId="3360397781" sldId="515"/>
            <ac:spMk id="30" creationId="{F4849063-45D5-1D13-FCC2-1BE31A879E05}"/>
          </ac:spMkLst>
        </pc:spChg>
        <pc:spChg chg="mod">
          <ac:chgData name="Dann Bleeker Pedersen" userId="34252400-a232-4440-8831-8cadcf57ce35" providerId="ADAL" clId="{5D18C0C2-102A-4970-B33C-1D15BE2F2270}" dt="2026-07-11T17:57:14.463" v="2129"/>
          <ac:spMkLst>
            <pc:docMk/>
            <pc:sldMk cId="3360397781" sldId="515"/>
            <ac:spMk id="31" creationId="{9A587F8C-02A5-5D84-EAE1-7926D9DECDB9}"/>
          </ac:spMkLst>
        </pc:spChg>
        <pc:spChg chg="add del mod ord">
          <ac:chgData name="Dann Bleeker Pedersen" userId="34252400-a232-4440-8831-8cadcf57ce35" providerId="ADAL" clId="{5D18C0C2-102A-4970-B33C-1D15BE2F2270}" dt="2026-07-11T18:00:27.678" v="2312" actId="478"/>
          <ac:spMkLst>
            <pc:docMk/>
            <pc:sldMk cId="3360397781" sldId="515"/>
            <ac:spMk id="32" creationId="{DF900582-763E-67D3-3ADE-234B887C7BC3}"/>
          </ac:spMkLst>
        </pc:spChg>
        <pc:spChg chg="add mod ord">
          <ac:chgData name="Dann Bleeker Pedersen" userId="34252400-a232-4440-8831-8cadcf57ce35" providerId="ADAL" clId="{5D18C0C2-102A-4970-B33C-1D15BE2F2270}" dt="2026-07-11T17:57:14.509" v="2219"/>
          <ac:spMkLst>
            <pc:docMk/>
            <pc:sldMk cId="3360397781" sldId="515"/>
            <ac:spMk id="34" creationId="{1719CB20-5572-4F9C-AC23-7993261D0004}"/>
          </ac:spMkLst>
        </pc:spChg>
        <pc:spChg chg="add del mod ord">
          <ac:chgData name="Dann Bleeker Pedersen" userId="34252400-a232-4440-8831-8cadcf57ce35" providerId="ADAL" clId="{5D18C0C2-102A-4970-B33C-1D15BE2F2270}" dt="2026-07-11T17:58:59.514" v="2282" actId="478"/>
          <ac:spMkLst>
            <pc:docMk/>
            <pc:sldMk cId="3360397781" sldId="515"/>
            <ac:spMk id="35" creationId="{5FF643F4-6097-701E-0FD1-D99EC7360400}"/>
          </ac:spMkLst>
        </pc:spChg>
        <pc:spChg chg="mod">
          <ac:chgData name="Dann Bleeker Pedersen" userId="34252400-a232-4440-8831-8cadcf57ce35" providerId="ADAL" clId="{5D18C0C2-102A-4970-B33C-1D15BE2F2270}" dt="2026-07-11T17:57:14.476" v="2155"/>
          <ac:spMkLst>
            <pc:docMk/>
            <pc:sldMk cId="3360397781" sldId="515"/>
            <ac:spMk id="37" creationId="{A02A64FE-4E31-7AAB-29FB-D4959F31B476}"/>
          </ac:spMkLst>
        </pc:spChg>
        <pc:spChg chg="mod">
          <ac:chgData name="Dann Bleeker Pedersen" userId="34252400-a232-4440-8831-8cadcf57ce35" providerId="ADAL" clId="{5D18C0C2-102A-4970-B33C-1D15BE2F2270}" dt="2026-07-11T17:57:14.476" v="2155"/>
          <ac:spMkLst>
            <pc:docMk/>
            <pc:sldMk cId="3360397781" sldId="515"/>
            <ac:spMk id="38" creationId="{52CE22C1-36E1-7CE0-9021-4583544B6CA8}"/>
          </ac:spMkLst>
        </pc:spChg>
        <pc:spChg chg="add mod">
          <ac:chgData name="Dann Bleeker Pedersen" userId="34252400-a232-4440-8831-8cadcf57ce35" providerId="ADAL" clId="{5D18C0C2-102A-4970-B33C-1D15BE2F2270}" dt="2026-07-11T17:57:14.513" v="2232"/>
          <ac:spMkLst>
            <pc:docMk/>
            <pc:sldMk cId="3360397781" sldId="515"/>
            <ac:spMk id="43" creationId="{C1482205-052D-1121-5DED-C9949FDDC11C}"/>
          </ac:spMkLst>
        </pc:spChg>
        <pc:spChg chg="mod">
          <ac:chgData name="Dann Bleeker Pedersen" userId="34252400-a232-4440-8831-8cadcf57ce35" providerId="ADAL" clId="{5D18C0C2-102A-4970-B33C-1D15BE2F2270}" dt="2026-07-11T17:57:14.513" v="2233"/>
          <ac:spMkLst>
            <pc:docMk/>
            <pc:sldMk cId="3360397781" sldId="515"/>
            <ac:spMk id="44" creationId="{5CD7F693-939F-D561-CAFC-73199CDE04B9}"/>
          </ac:spMkLst>
        </pc:spChg>
        <pc:spChg chg="add mod">
          <ac:chgData name="Dann Bleeker Pedersen" userId="34252400-a232-4440-8831-8cadcf57ce35" providerId="ADAL" clId="{5D18C0C2-102A-4970-B33C-1D15BE2F2270}" dt="2026-07-11T17:57:14.513" v="2234"/>
          <ac:spMkLst>
            <pc:docMk/>
            <pc:sldMk cId="3360397781" sldId="515"/>
            <ac:spMk id="45" creationId="{6EB78BB5-1825-2252-BBF5-8B8DF99A2076}"/>
          </ac:spMkLst>
        </pc:spChg>
        <pc:spChg chg="add mod ord">
          <ac:chgData name="Dann Bleeker Pedersen" userId="34252400-a232-4440-8831-8cadcf57ce35" providerId="ADAL" clId="{5D18C0C2-102A-4970-B33C-1D15BE2F2270}" dt="2026-07-11T17:57:14.514" v="2236"/>
          <ac:spMkLst>
            <pc:docMk/>
            <pc:sldMk cId="3360397781" sldId="515"/>
            <ac:spMk id="46" creationId="{1F1EB634-8299-271E-2D38-6DAB730D2589}"/>
          </ac:spMkLst>
        </pc:spChg>
        <pc:spChg chg="add mod ord">
          <ac:chgData name="Dann Bleeker Pedersen" userId="34252400-a232-4440-8831-8cadcf57ce35" providerId="ADAL" clId="{5D18C0C2-102A-4970-B33C-1D15BE2F2270}" dt="2026-07-11T17:57:14.514" v="2238"/>
          <ac:spMkLst>
            <pc:docMk/>
            <pc:sldMk cId="3360397781" sldId="515"/>
            <ac:spMk id="47" creationId="{2D4D1941-805F-66A9-3F7C-2B26CC8CBB98}"/>
          </ac:spMkLst>
        </pc:spChg>
        <pc:spChg chg="mod ord">
          <ac:chgData name="Dann Bleeker Pedersen" userId="34252400-a232-4440-8831-8cadcf57ce35" providerId="ADAL" clId="{5D18C0C2-102A-4970-B33C-1D15BE2F2270}" dt="2026-07-11T17:57:14.514" v="2240"/>
          <ac:spMkLst>
            <pc:docMk/>
            <pc:sldMk cId="3360397781" sldId="515"/>
            <ac:spMk id="48" creationId="{4080FE50-6025-A523-461C-FC75476D79F4}"/>
          </ac:spMkLst>
        </pc:spChg>
        <pc:spChg chg="add del mod modVis">
          <ac:chgData name="Dann Bleeker Pedersen" userId="34252400-a232-4440-8831-8cadcf57ce35" providerId="ADAL" clId="{5D18C0C2-102A-4970-B33C-1D15BE2F2270}" dt="2026-07-11T17:57:14.516" v="2242"/>
          <ac:spMkLst>
            <pc:docMk/>
            <pc:sldMk cId="3360397781" sldId="515"/>
            <ac:spMk id="49" creationId="{01D6B435-13A5-6858-6AA3-5A7F5E3397F1}"/>
          </ac:spMkLst>
        </pc:spChg>
        <pc:spChg chg="add mod">
          <ac:chgData name="Dann Bleeker Pedersen" userId="34252400-a232-4440-8831-8cadcf57ce35" providerId="ADAL" clId="{5D18C0C2-102A-4970-B33C-1D15BE2F2270}" dt="2026-07-11T17:58:34.282" v="2281" actId="113"/>
          <ac:spMkLst>
            <pc:docMk/>
            <pc:sldMk cId="3360397781" sldId="515"/>
            <ac:spMk id="51" creationId="{74EFEEE9-62BD-D612-CA5C-BFBB5CB08DF3}"/>
          </ac:spMkLst>
        </pc:spChg>
        <pc:grpChg chg="mod ord">
          <ac:chgData name="Dann Bleeker Pedersen" userId="34252400-a232-4440-8831-8cadcf57ce35" providerId="ADAL" clId="{5D18C0C2-102A-4970-B33C-1D15BE2F2270}" dt="2026-07-11T17:57:10.667" v="1944" actId="1076"/>
          <ac:grpSpMkLst>
            <pc:docMk/>
            <pc:sldMk cId="3360397781" sldId="515"/>
            <ac:grpSpMk id="7" creationId="{1EAE509E-C708-B6EF-8BCF-94CBCA611A9C}"/>
          </ac:grpSpMkLst>
        </pc:grpChg>
        <pc:grpChg chg="mod ord">
          <ac:chgData name="Dann Bleeker Pedersen" userId="34252400-a232-4440-8831-8cadcf57ce35" providerId="ADAL" clId="{5D18C0C2-102A-4970-B33C-1D15BE2F2270}" dt="2026-07-11T17:57:10.660" v="1928" actId="1076"/>
          <ac:grpSpMkLst>
            <pc:docMk/>
            <pc:sldMk cId="3360397781" sldId="515"/>
            <ac:grpSpMk id="14" creationId="{64B2B0A6-63CE-2435-E4C2-F6B3D05C57B0}"/>
          </ac:grpSpMkLst>
        </pc:grpChg>
        <pc:grpChg chg="mod ord">
          <ac:chgData name="Dann Bleeker Pedersen" userId="34252400-a232-4440-8831-8cadcf57ce35" providerId="ADAL" clId="{5D18C0C2-102A-4970-B33C-1D15BE2F2270}" dt="2026-07-11T17:57:14.507" v="2213"/>
          <ac:grpSpMkLst>
            <pc:docMk/>
            <pc:sldMk cId="3360397781" sldId="515"/>
            <ac:grpSpMk id="29" creationId="{6E9B4D8C-74EA-80F4-1EB8-DA653E1C95C8}"/>
          </ac:grpSpMkLst>
        </pc:grpChg>
        <pc:grpChg chg="mod ord">
          <ac:chgData name="Dann Bleeker Pedersen" userId="34252400-a232-4440-8831-8cadcf57ce35" providerId="ADAL" clId="{5D18C0C2-102A-4970-B33C-1D15BE2F2270}" dt="2026-07-11T17:57:14.510" v="2223"/>
          <ac:grpSpMkLst>
            <pc:docMk/>
            <pc:sldMk cId="3360397781" sldId="515"/>
            <ac:grpSpMk id="36" creationId="{25FB1099-51E7-CEC7-5CD1-210B5D5F6EBA}"/>
          </ac:grpSpMkLst>
        </pc:grpChg>
        <pc:graphicFrameChg chg="add mod ord modVis">
          <ac:chgData name="Dann Bleeker Pedersen" userId="34252400-a232-4440-8831-8cadcf57ce35" providerId="ADAL" clId="{5D18C0C2-102A-4970-B33C-1D15BE2F2270}" dt="2026-07-11T17:57:14.517" v="2244"/>
          <ac:graphicFrameMkLst>
            <pc:docMk/>
            <pc:sldMk cId="3360397781" sldId="515"/>
            <ac:graphicFrameMk id="6" creationId="{3C9FBE32-F843-4B42-9027-ACD9FF9B2A84}"/>
          </ac:graphicFrameMkLst>
        </pc:graphicFrameChg>
        <pc:graphicFrameChg chg="add del">
          <ac:chgData name="Dann Bleeker Pedersen" userId="34252400-a232-4440-8831-8cadcf57ce35" providerId="ADAL" clId="{5D18C0C2-102A-4970-B33C-1D15BE2F2270}" dt="2026-07-11T17:57:10.653" v="1914" actId="478"/>
          <ac:graphicFrameMkLst>
            <pc:docMk/>
            <pc:sldMk cId="3360397781" sldId="515"/>
            <ac:graphicFrameMk id="19" creationId="{A803F0AA-F3B9-9C53-0560-2D7E76F50C11}"/>
          </ac:graphicFrameMkLst>
        </pc:graphicFrameChg>
        <pc:graphicFrameChg chg="add mod ord">
          <ac:chgData name="Dann Bleeker Pedersen" userId="34252400-a232-4440-8831-8cadcf57ce35" providerId="ADAL" clId="{5D18C0C2-102A-4970-B33C-1D15BE2F2270}" dt="2026-07-11T17:57:10.651" v="1913" actId="1076"/>
          <ac:graphicFrameMkLst>
            <pc:docMk/>
            <pc:sldMk cId="3360397781" sldId="515"/>
            <ac:graphicFrameMk id="28" creationId="{8E467451-0756-99DE-4D5D-B3181C3AEF55}"/>
          </ac:graphicFrameMkLst>
        </pc:graphicFrameChg>
        <pc:graphicFrameChg chg="del">
          <ac:chgData name="Dann Bleeker Pedersen" userId="34252400-a232-4440-8831-8cadcf57ce35" providerId="ADAL" clId="{5D18C0C2-102A-4970-B33C-1D15BE2F2270}" dt="2026-07-11T17:57:14.491" v="2190"/>
          <ac:graphicFrameMkLst>
            <pc:docMk/>
            <pc:sldMk cId="3360397781" sldId="515"/>
            <ac:graphicFrameMk id="41" creationId="{D9AC3282-21B9-72D4-AE43-DC903B2BA12F}"/>
          </ac:graphicFrameMkLst>
        </pc:graphicFrameChg>
        <pc:graphicFrameChg chg="add mod ord">
          <ac:chgData name="Dann Bleeker Pedersen" userId="34252400-a232-4440-8831-8cadcf57ce35" providerId="ADAL" clId="{5D18C0C2-102A-4970-B33C-1D15BE2F2270}" dt="2026-07-11T17:57:14.512" v="2229"/>
          <ac:graphicFrameMkLst>
            <pc:docMk/>
            <pc:sldMk cId="3360397781" sldId="515"/>
            <ac:graphicFrameMk id="50" creationId="{6EEE7EB0-1893-6471-404C-5AD27C2F0E89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8:05:58.183" v="2658"/>
          <ac:graphicFrameMkLst>
            <pc:docMk/>
            <pc:sldMk cId="3360397781" sldId="515"/>
            <ac:graphicFrameMk id="53" creationId="{478F024B-1591-4ED0-8D65-DD3517CF70DA}"/>
          </ac:graphicFrameMkLst>
        </pc:graphicFrameChg>
        <pc:picChg chg="mod ord">
          <ac:chgData name="Dann Bleeker Pedersen" userId="34252400-a232-4440-8831-8cadcf57ce35" providerId="ADAL" clId="{5D18C0C2-102A-4970-B33C-1D15BE2F2270}" dt="2026-07-11T17:57:10.664" v="1938" actId="1076"/>
          <ac:picMkLst>
            <pc:docMk/>
            <pc:sldMk cId="3360397781" sldId="515"/>
            <ac:picMk id="11" creationId="{AFF39170-09BB-5160-2300-F89DD3A29657}"/>
          </ac:picMkLst>
        </pc:picChg>
        <pc:picChg chg="mod ord">
          <ac:chgData name="Dann Bleeker Pedersen" userId="34252400-a232-4440-8831-8cadcf57ce35" providerId="ADAL" clId="{5D18C0C2-102A-4970-B33C-1D15BE2F2270}" dt="2026-07-11T17:57:14.509" v="2217"/>
          <ac:picMkLst>
            <pc:docMk/>
            <pc:sldMk cId="3360397781" sldId="515"/>
            <ac:picMk id="33" creationId="{23B46782-1617-D0E2-D01F-5CC598BEFC30}"/>
          </ac:picMkLst>
        </pc:picChg>
        <pc:cxnChg chg="mod ord">
          <ac:chgData name="Dann Bleeker Pedersen" userId="34252400-a232-4440-8831-8cadcf57ce35" providerId="ADAL" clId="{5D18C0C2-102A-4970-B33C-1D15BE2F2270}" dt="2026-07-11T17:57:10.657" v="1924" actId="14100"/>
          <ac:cxnSpMkLst>
            <pc:docMk/>
            <pc:sldMk cId="3360397781" sldId="515"/>
            <ac:cxnSpMk id="17" creationId="{71FC27DF-E574-8C71-B925-B0CE7D312520}"/>
          </ac:cxnSpMkLst>
        </pc:cxnChg>
        <pc:cxnChg chg="mod ord">
          <ac:chgData name="Dann Bleeker Pedersen" userId="34252400-a232-4440-8831-8cadcf57ce35" providerId="ADAL" clId="{5D18C0C2-102A-4970-B33C-1D15BE2F2270}" dt="2026-07-11T17:57:10.656" v="1921" actId="14100"/>
          <ac:cxnSpMkLst>
            <pc:docMk/>
            <pc:sldMk cId="3360397781" sldId="515"/>
            <ac:cxnSpMk id="18" creationId="{CCC3396B-0F58-D133-3C45-A9CE686DCFC1}"/>
          </ac:cxnSpMkLst>
        </pc:cxnChg>
        <pc:cxnChg chg="mod ord">
          <ac:chgData name="Dann Bleeker Pedersen" userId="34252400-a232-4440-8831-8cadcf57ce35" providerId="ADAL" clId="{5D18C0C2-102A-4970-B33C-1D15BE2F2270}" dt="2026-07-11T17:57:10.654" v="1918" actId="14100"/>
          <ac:cxnSpMkLst>
            <pc:docMk/>
            <pc:sldMk cId="3360397781" sldId="515"/>
            <ac:cxnSpMk id="20" creationId="{32C46066-5F47-5FF5-0676-819AD6A212C1}"/>
          </ac:cxnSpMkLst>
        </pc:cxnChg>
        <pc:cxnChg chg="mod ord">
          <ac:chgData name="Dann Bleeker Pedersen" userId="34252400-a232-4440-8831-8cadcf57ce35" providerId="ADAL" clId="{5D18C0C2-102A-4970-B33C-1D15BE2F2270}" dt="2026-07-11T17:57:14.511" v="2225"/>
          <ac:cxnSpMkLst>
            <pc:docMk/>
            <pc:sldMk cId="3360397781" sldId="515"/>
            <ac:cxnSpMk id="39" creationId="{0FFF5E39-48A7-CEAF-77F8-E9FAACBF6FE7}"/>
          </ac:cxnSpMkLst>
        </pc:cxnChg>
        <pc:cxnChg chg="mod ord">
          <ac:chgData name="Dann Bleeker Pedersen" userId="34252400-a232-4440-8831-8cadcf57ce35" providerId="ADAL" clId="{5D18C0C2-102A-4970-B33C-1D15BE2F2270}" dt="2026-07-11T17:57:14.511" v="2227"/>
          <ac:cxnSpMkLst>
            <pc:docMk/>
            <pc:sldMk cId="3360397781" sldId="515"/>
            <ac:cxnSpMk id="40" creationId="{0BBD2A21-DD0D-D035-5F78-ED89172613C0}"/>
          </ac:cxnSpMkLst>
        </pc:cxnChg>
        <pc:cxnChg chg="mod ord">
          <ac:chgData name="Dann Bleeker Pedersen" userId="34252400-a232-4440-8831-8cadcf57ce35" providerId="ADAL" clId="{5D18C0C2-102A-4970-B33C-1D15BE2F2270}" dt="2026-07-11T17:57:14.512" v="2231"/>
          <ac:cxnSpMkLst>
            <pc:docMk/>
            <pc:sldMk cId="3360397781" sldId="515"/>
            <ac:cxnSpMk id="42" creationId="{99500199-AD58-2467-F45C-6ECDF70E806B}"/>
          </ac:cxnSpMkLst>
        </pc:cxnChg>
      </pc:sldChg>
      <pc:sldChg chg="addSp modSp new mod modShow">
        <pc:chgData name="Dann Bleeker Pedersen" userId="34252400-a232-4440-8831-8cadcf57ce35" providerId="ADAL" clId="{5D18C0C2-102A-4970-B33C-1D15BE2F2270}" dt="2026-07-11T19:55:25.676" v="3003" actId="729"/>
        <pc:sldMkLst>
          <pc:docMk/>
          <pc:sldMk cId="116776766" sldId="516"/>
        </pc:sldMkLst>
        <pc:spChg chg="mod">
          <ac:chgData name="Dann Bleeker Pedersen" userId="34252400-a232-4440-8831-8cadcf57ce35" providerId="ADAL" clId="{5D18C0C2-102A-4970-B33C-1D15BE2F2270}" dt="2026-07-11T17:54:11.568" v="1562"/>
          <ac:spMkLst>
            <pc:docMk/>
            <pc:sldMk cId="116776766" sldId="516"/>
            <ac:spMk id="2" creationId="{35917142-6088-9FF5-0E01-94170393B9F4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54:01.458" v="1552"/>
          <ac:graphicFrameMkLst>
            <pc:docMk/>
            <pc:sldMk cId="116776766" sldId="516"/>
            <ac:graphicFrameMk id="4" creationId="{CD71613D-9829-412F-3EA1-70F43DDF14BC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54:29.092" v="1576" actId="20577"/>
          <ac:graphicFrameMkLst>
            <pc:docMk/>
            <pc:sldMk cId="116776766" sldId="516"/>
            <ac:graphicFrameMk id="5" creationId="{E48AECBB-6BB8-7C4A-1A99-926EF2A705AA}"/>
          </ac:graphicFrameMkLst>
        </pc:graphicFrameChg>
      </pc:sldChg>
      <pc:sldChg chg="addSp modSp new mod modShow">
        <pc:chgData name="Dann Bleeker Pedersen" userId="34252400-a232-4440-8831-8cadcf57ce35" providerId="ADAL" clId="{5D18C0C2-102A-4970-B33C-1D15BE2F2270}" dt="2026-07-11T19:55:25.676" v="3003" actId="729"/>
        <pc:sldMkLst>
          <pc:docMk/>
          <pc:sldMk cId="3648957257" sldId="517"/>
        </pc:sldMkLst>
        <pc:spChg chg="mod">
          <ac:chgData name="Dann Bleeker Pedersen" userId="34252400-a232-4440-8831-8cadcf57ce35" providerId="ADAL" clId="{5D18C0C2-102A-4970-B33C-1D15BE2F2270}" dt="2026-07-11T17:54:51.291" v="1581" actId="299"/>
          <ac:spMkLst>
            <pc:docMk/>
            <pc:sldMk cId="3648957257" sldId="517"/>
            <ac:spMk id="2" creationId="{57204E95-2A40-186A-74D7-5EC5B067FA2F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54:51.313" v="1595"/>
          <ac:graphicFrameMkLst>
            <pc:docMk/>
            <pc:sldMk cId="3648957257" sldId="517"/>
            <ac:graphicFrameMk id="4" creationId="{5356E16D-4908-0263-C723-4537F5B06F40}"/>
          </ac:graphicFrameMkLst>
        </pc:graphicFrameChg>
        <pc:graphicFrameChg chg="add mod">
          <ac:chgData name="Dann Bleeker Pedersen" userId="34252400-a232-4440-8831-8cadcf57ce35" providerId="ADAL" clId="{5D18C0C2-102A-4970-B33C-1D15BE2F2270}" dt="2026-07-11T17:54:56.446" v="1596"/>
          <ac:graphicFrameMkLst>
            <pc:docMk/>
            <pc:sldMk cId="3648957257" sldId="517"/>
            <ac:graphicFrameMk id="5" creationId="{D042EDA9-2251-EDAD-5FEA-E60B2379BB0F}"/>
          </ac:graphicFrameMkLst>
        </pc:graphicFrameChg>
      </pc:sldChg>
      <pc:sldChg chg="addSp modSp new mod modShow">
        <pc:chgData name="Dann Bleeker Pedersen" userId="34252400-a232-4440-8831-8cadcf57ce35" providerId="ADAL" clId="{5D18C0C2-102A-4970-B33C-1D15BE2F2270}" dt="2026-07-11T19:55:25.676" v="3003" actId="729"/>
        <pc:sldMkLst>
          <pc:docMk/>
          <pc:sldMk cId="3484762657" sldId="518"/>
        </pc:sldMkLst>
        <pc:spChg chg="mod">
          <ac:chgData name="Dann Bleeker Pedersen" userId="34252400-a232-4440-8831-8cadcf57ce35" providerId="ADAL" clId="{5D18C0C2-102A-4970-B33C-1D15BE2F2270}" dt="2026-07-11T17:55:18.633" v="1601" actId="299"/>
          <ac:spMkLst>
            <pc:docMk/>
            <pc:sldMk cId="3484762657" sldId="518"/>
            <ac:spMk id="2" creationId="{A521CD72-6A10-B94E-A9E2-24773545E87D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7:55:18.652" v="1615"/>
          <ac:graphicFrameMkLst>
            <pc:docMk/>
            <pc:sldMk cId="3484762657" sldId="518"/>
            <ac:graphicFrameMk id="4" creationId="{0E9C59D4-A9F6-80F0-B4FF-58A8102F84EC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56:07.446" v="1629" actId="20577"/>
          <ac:graphicFrameMkLst>
            <pc:docMk/>
            <pc:sldMk cId="3484762657" sldId="518"/>
            <ac:graphicFrameMk id="5" creationId="{C6FB3752-1ED7-671C-8425-5B24E51D23F7}"/>
          </ac:graphicFrameMkLst>
        </pc:graphicFrame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6" creationId="{17C8D63A-A5E5-9227-CC89-07D2BD4F8A90}"/>
          </ac:picMkLst>
        </pc:pic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7" creationId="{8F4AF681-1710-736F-91E8-829E95F25F96}"/>
          </ac:picMkLst>
        </pc:pic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8" creationId="{4CD2A4E3-50FC-E3D2-2812-2461930322BD}"/>
          </ac:picMkLst>
        </pc:pic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9" creationId="{97E0DEC7-1758-2662-CC81-45359F583ACF}"/>
          </ac:picMkLst>
        </pc:pic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10" creationId="{1D3B0723-F25A-414D-EF84-B9FCE86D4F72}"/>
          </ac:picMkLst>
        </pc:picChg>
        <pc:picChg chg="add mod">
          <ac:chgData name="Dann Bleeker Pedersen" userId="34252400-a232-4440-8831-8cadcf57ce35" providerId="ADAL" clId="{5D18C0C2-102A-4970-B33C-1D15BE2F2270}" dt="2026-07-11T17:55:27.620" v="1616"/>
          <ac:picMkLst>
            <pc:docMk/>
            <pc:sldMk cId="3484762657" sldId="518"/>
            <ac:picMk id="11" creationId="{E42004C4-C893-74C0-5AE7-ED90E18C05DE}"/>
          </ac:picMkLst>
        </pc:picChg>
      </pc:sldChg>
      <pc:sldChg chg="delSp modSp add del mod">
        <pc:chgData name="Dann Bleeker Pedersen" userId="34252400-a232-4440-8831-8cadcf57ce35" providerId="ADAL" clId="{5D18C0C2-102A-4970-B33C-1D15BE2F2270}" dt="2026-07-11T18:11:07.763" v="2723"/>
        <pc:sldMkLst>
          <pc:docMk/>
          <pc:sldMk cId="728103446" sldId="519"/>
        </pc:sldMkLst>
        <pc:graphicFrameChg chg="modGraphic">
          <ac:chgData name="Dann Bleeker Pedersen" userId="34252400-a232-4440-8831-8cadcf57ce35" providerId="ADAL" clId="{5D18C0C2-102A-4970-B33C-1D15BE2F2270}" dt="2026-07-11T18:10:53.355" v="2721"/>
          <ac:graphicFrameMkLst>
            <pc:docMk/>
            <pc:sldMk cId="728103446" sldId="519"/>
            <ac:graphicFrameMk id="53" creationId="{478F024B-1591-4ED0-8D65-DD3517CF70DA}"/>
          </ac:graphicFrameMkLst>
        </pc:graphicFrameChg>
        <pc:picChg chg="del">
          <ac:chgData name="Dann Bleeker Pedersen" userId="34252400-a232-4440-8831-8cadcf57ce35" providerId="ADAL" clId="{5D18C0C2-102A-4970-B33C-1D15BE2F2270}" dt="2026-07-11T18:06:52.062" v="2673"/>
          <ac:picMkLst>
            <pc:docMk/>
            <pc:sldMk cId="728103446" sldId="519"/>
            <ac:picMk id="33" creationId="{23B46782-1617-D0E2-D01F-5CC598BEFC30}"/>
          </ac:picMkLst>
        </pc:picChg>
      </pc:sldChg>
      <pc:sldChg chg="modSp add del mod">
        <pc:chgData name="Dann Bleeker Pedersen" userId="34252400-a232-4440-8831-8cadcf57ce35" providerId="ADAL" clId="{5D18C0C2-102A-4970-B33C-1D15BE2F2270}" dt="2026-07-11T18:13:03.002" v="2737"/>
        <pc:sldMkLst>
          <pc:docMk/>
          <pc:sldMk cId="1012799952" sldId="520"/>
        </pc:sldMkLst>
        <pc:graphicFrameChg chg="modGraphic">
          <ac:chgData name="Dann Bleeker Pedersen" userId="34252400-a232-4440-8831-8cadcf57ce35" providerId="ADAL" clId="{5D18C0C2-102A-4970-B33C-1D15BE2F2270}" dt="2026-07-11T18:11:07.924" v="2735"/>
          <ac:graphicFrameMkLst>
            <pc:docMk/>
            <pc:sldMk cId="1012799952" sldId="520"/>
            <ac:graphicFrameMk id="53" creationId="{478F024B-1591-4ED0-8D65-DD3517CF70DA}"/>
          </ac:graphicFrameMkLst>
        </pc:graphicFrameChg>
      </pc:sldChg>
      <pc:sldChg chg="addSp delSp modSp add mod modShow">
        <pc:chgData name="Dann Bleeker Pedersen" userId="34252400-a232-4440-8831-8cadcf57ce35" providerId="ADAL" clId="{5D18C0C2-102A-4970-B33C-1D15BE2F2270}" dt="2026-07-11T19:55:25.676" v="3003" actId="729"/>
        <pc:sldMkLst>
          <pc:docMk/>
          <pc:sldMk cId="2048617095" sldId="521"/>
        </pc:sldMkLst>
        <pc:spChg chg="add del mod modVis">
          <ac:chgData name="Dann Bleeker Pedersen" userId="34252400-a232-4440-8831-8cadcf57ce35" providerId="ADAL" clId="{5D18C0C2-102A-4970-B33C-1D15BE2F2270}" dt="2026-07-11T18:36:13.088" v="2937"/>
          <ac:spMkLst>
            <pc:docMk/>
            <pc:sldMk cId="2048617095" sldId="521"/>
            <ac:spMk id="2" creationId="{CA05B916-D937-98BE-3443-A61A004C0366}"/>
          </ac:spMkLst>
        </pc:spChg>
        <pc:spChg chg="mod">
          <ac:chgData name="Dann Bleeker Pedersen" userId="34252400-a232-4440-8831-8cadcf57ce35" providerId="ADAL" clId="{5D18C0C2-102A-4970-B33C-1D15BE2F2270}" dt="2026-07-11T18:36:13.053" v="2917" actId="299"/>
          <ac:spMkLst>
            <pc:docMk/>
            <pc:sldMk cId="2048617095" sldId="521"/>
            <ac:spMk id="5" creationId="{91E9A235-C008-3422-F9B8-43884D388167}"/>
          </ac:spMkLst>
        </pc:spChg>
        <pc:spChg chg="mod">
          <ac:chgData name="Dann Bleeker Pedersen" userId="34252400-a232-4440-8831-8cadcf57ce35" providerId="ADAL" clId="{5D18C0C2-102A-4970-B33C-1D15BE2F2270}" dt="2026-07-11T18:15:39.456" v="2811" actId="20577"/>
          <ac:spMkLst>
            <pc:docMk/>
            <pc:sldMk cId="2048617095" sldId="521"/>
            <ac:spMk id="31" creationId="{9A587F8C-02A5-5D84-EAE1-7926D9DECDB9}"/>
          </ac:spMkLst>
        </pc:spChg>
        <pc:spChg chg="mod">
          <ac:chgData name="Dann Bleeker Pedersen" userId="34252400-a232-4440-8831-8cadcf57ce35" providerId="ADAL" clId="{5D18C0C2-102A-4970-B33C-1D15BE2F2270}" dt="2026-07-11T18:36:13.086" v="2935"/>
          <ac:spMkLst>
            <pc:docMk/>
            <pc:sldMk cId="2048617095" sldId="521"/>
            <ac:spMk id="43" creationId="{C1482205-052D-1121-5DED-C9949FDDC11C}"/>
          </ac:spMkLst>
        </pc:spChg>
        <pc:spChg chg="mod">
          <ac:chgData name="Dann Bleeker Pedersen" userId="34252400-a232-4440-8831-8cadcf57ce35" providerId="ADAL" clId="{5D18C0C2-102A-4970-B33C-1D15BE2F2270}" dt="2026-07-11T18:36:15.468" v="2973"/>
          <ac:spMkLst>
            <pc:docMk/>
            <pc:sldMk cId="2048617095" sldId="521"/>
            <ac:spMk id="44" creationId="{5CD7F693-939F-D561-CAFC-73199CDE04B9}"/>
          </ac:spMkLst>
        </pc:spChg>
        <pc:spChg chg="mod">
          <ac:chgData name="Dann Bleeker Pedersen" userId="34252400-a232-4440-8831-8cadcf57ce35" providerId="ADAL" clId="{5D18C0C2-102A-4970-B33C-1D15BE2F2270}" dt="2026-07-11T18:36:15.468" v="2975"/>
          <ac:spMkLst>
            <pc:docMk/>
            <pc:sldMk cId="2048617095" sldId="521"/>
            <ac:spMk id="45" creationId="{6EB78BB5-1825-2252-BBF5-8B8DF99A2076}"/>
          </ac:spMkLst>
        </pc:spChg>
        <pc:spChg chg="mod">
          <ac:chgData name="Dann Bleeker Pedersen" userId="34252400-a232-4440-8831-8cadcf57ce35" providerId="ADAL" clId="{5D18C0C2-102A-4970-B33C-1D15BE2F2270}" dt="2026-07-11T18:36:13.081" v="2933" actId="948"/>
          <ac:spMkLst>
            <pc:docMk/>
            <pc:sldMk cId="2048617095" sldId="521"/>
            <ac:spMk id="46" creationId="{1F1EB634-8299-271E-2D38-6DAB730D2589}"/>
          </ac:spMkLst>
        </pc:spChg>
        <pc:graphicFrameChg chg="mod">
          <ac:chgData name="Dann Bleeker Pedersen" userId="34252400-a232-4440-8831-8cadcf57ce35" providerId="ADAL" clId="{5D18C0C2-102A-4970-B33C-1D15BE2F2270}" dt="2026-07-11T18:38:34.925" v="2990"/>
          <ac:graphicFrameMkLst>
            <pc:docMk/>
            <pc:sldMk cId="2048617095" sldId="521"/>
            <ac:graphicFrameMk id="6" creationId="{3C9FBE32-F843-4B42-9027-ACD9FF9B2A84}"/>
          </ac:graphicFrameMkLst>
        </pc:graphicFrameChg>
        <pc:graphicFrameChg chg="modGraphic">
          <ac:chgData name="Dann Bleeker Pedersen" userId="34252400-a232-4440-8831-8cadcf57ce35" providerId="ADAL" clId="{5D18C0C2-102A-4970-B33C-1D15BE2F2270}" dt="2026-07-11T18:15:50.957" v="2821" actId="20577"/>
          <ac:graphicFrameMkLst>
            <pc:docMk/>
            <pc:sldMk cId="2048617095" sldId="521"/>
            <ac:graphicFrameMk id="53" creationId="{478F024B-1591-4ED0-8D65-DD3517CF70DA}"/>
          </ac:graphicFrameMkLst>
        </pc:graphicFrameChg>
      </pc:sldChg>
      <pc:sldChg chg="add del">
        <pc:chgData name="Dann Bleeker Pedersen" userId="34252400-a232-4440-8831-8cadcf57ce35" providerId="ADAL" clId="{5D18C0C2-102A-4970-B33C-1D15BE2F2270}" dt="2026-07-11T20:10:00.822" v="4263"/>
        <pc:sldMkLst>
          <pc:docMk/>
          <pc:sldMk cId="3651383945" sldId="522"/>
        </pc:sldMkLst>
      </pc:sldChg>
      <pc:sldChg chg="addSp modSp new mod">
        <pc:chgData name="Dann Bleeker Pedersen" userId="34252400-a232-4440-8831-8cadcf57ce35" providerId="ADAL" clId="{5D18C0C2-102A-4970-B33C-1D15BE2F2270}" dt="2026-07-11T19:56:13.019" v="3053" actId="255"/>
        <pc:sldMkLst>
          <pc:docMk/>
          <pc:sldMk cId="4142051355" sldId="523"/>
        </pc:sldMkLst>
        <pc:spChg chg="mod">
          <ac:chgData name="Dann Bleeker Pedersen" userId="34252400-a232-4440-8831-8cadcf57ce35" providerId="ADAL" clId="{5D18C0C2-102A-4970-B33C-1D15BE2F2270}" dt="2026-07-11T19:55:34.349" v="3008" actId="299"/>
          <ac:spMkLst>
            <pc:docMk/>
            <pc:sldMk cId="4142051355" sldId="523"/>
            <ac:spMk id="2" creationId="{D7E56A33-56E8-36B6-B6FE-474D7BADD00F}"/>
          </ac:spMkLst>
        </pc:spChg>
        <pc:spChg chg="add mod">
          <ac:chgData name="Dann Bleeker Pedersen" userId="34252400-a232-4440-8831-8cadcf57ce35" providerId="ADAL" clId="{5D18C0C2-102A-4970-B33C-1D15BE2F2270}" dt="2026-07-11T19:56:13.019" v="3053" actId="255"/>
          <ac:spMkLst>
            <pc:docMk/>
            <pc:sldMk cId="4142051355" sldId="523"/>
            <ac:spMk id="5" creationId="{B1E4B1CE-F87A-369A-4411-242027A86DA2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9:55:34.364" v="3022"/>
          <ac:graphicFrameMkLst>
            <pc:docMk/>
            <pc:sldMk cId="4142051355" sldId="523"/>
            <ac:graphicFrameMk id="4" creationId="{E3229145-1613-E97C-281D-EE5CE4B7DDB1}"/>
          </ac:graphicFrameMkLst>
        </pc:graphicFrameChg>
      </pc:sldChg>
      <pc:sldChg chg="addSp modSp new mod">
        <pc:chgData name="Dann Bleeker Pedersen" userId="34252400-a232-4440-8831-8cadcf57ce35" providerId="ADAL" clId="{5D18C0C2-102A-4970-B33C-1D15BE2F2270}" dt="2026-07-11T19:59:04.987" v="3091" actId="122"/>
        <pc:sldMkLst>
          <pc:docMk/>
          <pc:sldMk cId="3412223563" sldId="524"/>
        </pc:sldMkLst>
        <pc:spChg chg="mod">
          <ac:chgData name="Dann Bleeker Pedersen" userId="34252400-a232-4440-8831-8cadcf57ce35" providerId="ADAL" clId="{5D18C0C2-102A-4970-B33C-1D15BE2F2270}" dt="2026-07-11T19:57:54.604" v="3069" actId="299"/>
          <ac:spMkLst>
            <pc:docMk/>
            <pc:sldMk cId="3412223563" sldId="524"/>
            <ac:spMk id="2" creationId="{7D917037-4C3E-73C5-040B-756CA9344A1F}"/>
          </ac:spMkLst>
        </pc:spChg>
        <pc:spChg chg="add mod">
          <ac:chgData name="Dann Bleeker Pedersen" userId="34252400-a232-4440-8831-8cadcf57ce35" providerId="ADAL" clId="{5D18C0C2-102A-4970-B33C-1D15BE2F2270}" dt="2026-07-11T19:58:02.403" v="3084" actId="14100"/>
          <ac:spMkLst>
            <pc:docMk/>
            <pc:sldMk cId="3412223563" sldId="524"/>
            <ac:spMk id="4" creationId="{B7CF4435-47DD-8530-B244-7FC86C01A1AC}"/>
          </ac:spMkLst>
        </pc:spChg>
        <pc:spChg chg="add mod">
          <ac:chgData name="Dann Bleeker Pedersen" userId="34252400-a232-4440-8831-8cadcf57ce35" providerId="ADAL" clId="{5D18C0C2-102A-4970-B33C-1D15BE2F2270}" dt="2026-07-11T19:58:22.156" v="3085" actId="14100"/>
          <ac:spMkLst>
            <pc:docMk/>
            <pc:sldMk cId="3412223563" sldId="524"/>
            <ac:spMk id="6" creationId="{D8706C40-069C-26E9-65BA-6C6A63FA67BB}"/>
          </ac:spMkLst>
        </pc:spChg>
        <pc:spChg chg="add mod">
          <ac:chgData name="Dann Bleeker Pedersen" userId="34252400-a232-4440-8831-8cadcf57ce35" providerId="ADAL" clId="{5D18C0C2-102A-4970-B33C-1D15BE2F2270}" dt="2026-07-11T19:57:49.680" v="3065" actId="1076"/>
          <ac:spMkLst>
            <pc:docMk/>
            <pc:sldMk cId="3412223563" sldId="524"/>
            <ac:spMk id="7" creationId="{A3491359-5BA3-7E14-A4FC-F436874E3E37}"/>
          </ac:spMkLst>
        </pc:spChg>
        <pc:spChg chg="mod">
          <ac:chgData name="Dann Bleeker Pedersen" userId="34252400-a232-4440-8831-8cadcf57ce35" providerId="ADAL" clId="{5D18C0C2-102A-4970-B33C-1D15BE2F2270}" dt="2026-07-11T19:58:56.782" v="3088" actId="122"/>
          <ac:spMkLst>
            <pc:docMk/>
            <pc:sldMk cId="3412223563" sldId="524"/>
            <ac:spMk id="9" creationId="{1C3D4C08-8C58-4342-C55B-F7E0128DB04B}"/>
          </ac:spMkLst>
        </pc:spChg>
        <pc:spChg chg="mod">
          <ac:chgData name="Dann Bleeker Pedersen" userId="34252400-a232-4440-8831-8cadcf57ce35" providerId="ADAL" clId="{5D18C0C2-102A-4970-B33C-1D15BE2F2270}" dt="2026-07-11T19:57:43.163" v="3064"/>
          <ac:spMkLst>
            <pc:docMk/>
            <pc:sldMk cId="3412223563" sldId="524"/>
            <ac:spMk id="10" creationId="{B3B399E2-C05C-0A2C-4864-5BDF20579B7E}"/>
          </ac:spMkLst>
        </pc:spChg>
        <pc:spChg chg="mod">
          <ac:chgData name="Dann Bleeker Pedersen" userId="34252400-a232-4440-8831-8cadcf57ce35" providerId="ADAL" clId="{5D18C0C2-102A-4970-B33C-1D15BE2F2270}" dt="2026-07-11T19:58:59.699" v="3089" actId="122"/>
          <ac:spMkLst>
            <pc:docMk/>
            <pc:sldMk cId="3412223563" sldId="524"/>
            <ac:spMk id="12" creationId="{1B665A0C-F1E7-F898-63A2-AA28C7126BBD}"/>
          </ac:spMkLst>
        </pc:spChg>
        <pc:spChg chg="mod">
          <ac:chgData name="Dann Bleeker Pedersen" userId="34252400-a232-4440-8831-8cadcf57ce35" providerId="ADAL" clId="{5D18C0C2-102A-4970-B33C-1D15BE2F2270}" dt="2026-07-11T19:57:43.163" v="3064"/>
          <ac:spMkLst>
            <pc:docMk/>
            <pc:sldMk cId="3412223563" sldId="524"/>
            <ac:spMk id="13" creationId="{E47660EB-0007-18B1-7C2C-A112219D887F}"/>
          </ac:spMkLst>
        </pc:spChg>
        <pc:spChg chg="mod">
          <ac:chgData name="Dann Bleeker Pedersen" userId="34252400-a232-4440-8831-8cadcf57ce35" providerId="ADAL" clId="{5D18C0C2-102A-4970-B33C-1D15BE2F2270}" dt="2026-07-11T19:59:02.254" v="3090" actId="122"/>
          <ac:spMkLst>
            <pc:docMk/>
            <pc:sldMk cId="3412223563" sldId="524"/>
            <ac:spMk id="15" creationId="{2A4C359D-D8D2-B295-5F64-E23E87563E57}"/>
          </ac:spMkLst>
        </pc:spChg>
        <pc:spChg chg="mod">
          <ac:chgData name="Dann Bleeker Pedersen" userId="34252400-a232-4440-8831-8cadcf57ce35" providerId="ADAL" clId="{5D18C0C2-102A-4970-B33C-1D15BE2F2270}" dt="2026-07-11T19:57:43.163" v="3064"/>
          <ac:spMkLst>
            <pc:docMk/>
            <pc:sldMk cId="3412223563" sldId="524"/>
            <ac:spMk id="16" creationId="{963B0D2A-886B-6E85-3AF7-3EFDE416B7D9}"/>
          </ac:spMkLst>
        </pc:spChg>
        <pc:spChg chg="mod">
          <ac:chgData name="Dann Bleeker Pedersen" userId="34252400-a232-4440-8831-8cadcf57ce35" providerId="ADAL" clId="{5D18C0C2-102A-4970-B33C-1D15BE2F2270}" dt="2026-07-11T19:59:04.987" v="3091" actId="122"/>
          <ac:spMkLst>
            <pc:docMk/>
            <pc:sldMk cId="3412223563" sldId="524"/>
            <ac:spMk id="18" creationId="{FE1EBCB8-8EBD-C762-9CA0-91F61C4F36AC}"/>
          </ac:spMkLst>
        </pc:spChg>
        <pc:grpChg chg="mod">
          <ac:chgData name="Dann Bleeker Pedersen" userId="34252400-a232-4440-8831-8cadcf57ce35" providerId="ADAL" clId="{5D18C0C2-102A-4970-B33C-1D15BE2F2270}" dt="2026-07-11T19:58:22.156" v="3085" actId="14100"/>
          <ac:grpSpMkLst>
            <pc:docMk/>
            <pc:sldMk cId="3412223563" sldId="524"/>
            <ac:grpSpMk id="8" creationId="{DEC542BB-57C1-ED2D-4BDB-A3682F6A0D57}"/>
          </ac:grpSpMkLst>
        </pc:grpChg>
        <pc:grpChg chg="mod">
          <ac:chgData name="Dann Bleeker Pedersen" userId="34252400-a232-4440-8831-8cadcf57ce35" providerId="ADAL" clId="{5D18C0C2-102A-4970-B33C-1D15BE2F2270}" dt="2026-07-11T19:58:22.156" v="3085" actId="14100"/>
          <ac:grpSpMkLst>
            <pc:docMk/>
            <pc:sldMk cId="3412223563" sldId="524"/>
            <ac:grpSpMk id="11" creationId="{41C47D64-EAC4-69D8-3E30-78FC3159BBEA}"/>
          </ac:grpSpMkLst>
        </pc:grpChg>
        <pc:grpChg chg="mod">
          <ac:chgData name="Dann Bleeker Pedersen" userId="34252400-a232-4440-8831-8cadcf57ce35" providerId="ADAL" clId="{5D18C0C2-102A-4970-B33C-1D15BE2F2270}" dt="2026-07-11T19:58:22.156" v="3085" actId="14100"/>
          <ac:grpSpMkLst>
            <pc:docMk/>
            <pc:sldMk cId="3412223563" sldId="524"/>
            <ac:grpSpMk id="14" creationId="{CB1570CF-DD74-6976-2026-1F15A1A0D8F7}"/>
          </ac:grpSpMkLst>
        </pc:grpChg>
        <pc:grpChg chg="mod">
          <ac:chgData name="Dann Bleeker Pedersen" userId="34252400-a232-4440-8831-8cadcf57ce35" providerId="ADAL" clId="{5D18C0C2-102A-4970-B33C-1D15BE2F2270}" dt="2026-07-11T19:58:22.156" v="3085" actId="14100"/>
          <ac:grpSpMkLst>
            <pc:docMk/>
            <pc:sldMk cId="3412223563" sldId="524"/>
            <ac:grpSpMk id="17" creationId="{C2830C53-FE1E-93FC-9F1C-26B3977B96AF}"/>
          </ac:grpSpMkLst>
        </pc:grpChg>
        <pc:graphicFrameChg chg="add mod ord modVis">
          <ac:chgData name="Dann Bleeker Pedersen" userId="34252400-a232-4440-8831-8cadcf57ce35" providerId="ADAL" clId="{5D18C0C2-102A-4970-B33C-1D15BE2F2270}" dt="2026-07-11T19:57:54.631" v="3083"/>
          <ac:graphicFrameMkLst>
            <pc:docMk/>
            <pc:sldMk cId="3412223563" sldId="524"/>
            <ac:graphicFrameMk id="20" creationId="{41D54DB0-CF11-E503-2B6C-21D76D07859B}"/>
          </ac:graphicFrameMkLst>
        </pc:graphicFrameChg>
        <pc:cxnChg chg="mod">
          <ac:chgData name="Dann Bleeker Pedersen" userId="34252400-a232-4440-8831-8cadcf57ce35" providerId="ADAL" clId="{5D18C0C2-102A-4970-B33C-1D15BE2F2270}" dt="2026-07-11T19:58:37.805" v="3087" actId="14100"/>
          <ac:cxnSpMkLst>
            <pc:docMk/>
            <pc:sldMk cId="3412223563" sldId="524"/>
            <ac:cxnSpMk id="5" creationId="{DAE15F19-1917-E82B-C389-E53DDDF82BCF}"/>
          </ac:cxnSpMkLst>
        </pc:cxnChg>
      </pc:sldChg>
      <pc:sldChg chg="addSp modSp new mod">
        <pc:chgData name="Dann Bleeker Pedersen" userId="34252400-a232-4440-8831-8cadcf57ce35" providerId="ADAL" clId="{5D18C0C2-102A-4970-B33C-1D15BE2F2270}" dt="2026-07-11T20:01:37.091" v="3151" actId="1036"/>
        <pc:sldMkLst>
          <pc:docMk/>
          <pc:sldMk cId="838504466" sldId="525"/>
        </pc:sldMkLst>
        <pc:spChg chg="mod">
          <ac:chgData name="Dann Bleeker Pedersen" userId="34252400-a232-4440-8831-8cadcf57ce35" providerId="ADAL" clId="{5D18C0C2-102A-4970-B33C-1D15BE2F2270}" dt="2026-07-11T20:01:06.066" v="3126" actId="299"/>
          <ac:spMkLst>
            <pc:docMk/>
            <pc:sldMk cId="838504466" sldId="525"/>
            <ac:spMk id="2" creationId="{1C015945-AE07-63FD-79AE-BC53A9447672}"/>
          </ac:spMkLst>
        </pc:spChg>
        <pc:graphicFrameChg chg="add mod ord modVis">
          <ac:chgData name="Dann Bleeker Pedersen" userId="34252400-a232-4440-8831-8cadcf57ce35" providerId="ADAL" clId="{5D18C0C2-102A-4970-B33C-1D15BE2F2270}" dt="2026-07-11T20:01:06.089" v="3140"/>
          <ac:graphicFrameMkLst>
            <pc:docMk/>
            <pc:sldMk cId="838504466" sldId="525"/>
            <ac:graphicFrameMk id="4" creationId="{2EA3EBD2-4A69-1849-C57D-DBFB0B2534FF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20:01:37.091" v="3151" actId="1036"/>
          <ac:graphicFrameMkLst>
            <pc:docMk/>
            <pc:sldMk cId="838504466" sldId="525"/>
            <ac:graphicFrameMk id="5" creationId="{53F3362C-2B15-8074-8173-526A9608401C}"/>
          </ac:graphicFrameMkLst>
        </pc:graphicFrameChg>
      </pc:sldChg>
      <pc:sldChg chg="new del">
        <pc:chgData name="Dann Bleeker Pedersen" userId="34252400-a232-4440-8831-8cadcf57ce35" providerId="ADAL" clId="{5D18C0C2-102A-4970-B33C-1D15BE2F2270}" dt="2026-07-11T20:08:26.470" v="4261" actId="47"/>
        <pc:sldMkLst>
          <pc:docMk/>
          <pc:sldMk cId="3890164414" sldId="526"/>
        </pc:sldMkLst>
      </pc:sldChg>
      <pc:sldChg chg="addSp modSp new mod">
        <pc:chgData name="Dann Bleeker Pedersen" userId="34252400-a232-4440-8831-8cadcf57ce35" providerId="ADAL" clId="{5D18C0C2-102A-4970-B33C-1D15BE2F2270}" dt="2026-07-11T20:03:10.284" v="3184" actId="14734"/>
        <pc:sldMkLst>
          <pc:docMk/>
          <pc:sldMk cId="4246371013" sldId="527"/>
        </pc:sldMkLst>
        <pc:spChg chg="mod">
          <ac:chgData name="Dann Bleeker Pedersen" userId="34252400-a232-4440-8831-8cadcf57ce35" providerId="ADAL" clId="{5D18C0C2-102A-4970-B33C-1D15BE2F2270}" dt="2026-07-11T20:02:33.456" v="3157" actId="299"/>
          <ac:spMkLst>
            <pc:docMk/>
            <pc:sldMk cId="4246371013" sldId="527"/>
            <ac:spMk id="2" creationId="{28CE6D30-2AD6-F0BD-DB5A-08061EFDDE4B}"/>
          </ac:spMkLst>
        </pc:spChg>
        <pc:graphicFrameChg chg="add mod ord modVis">
          <ac:chgData name="Dann Bleeker Pedersen" userId="34252400-a232-4440-8831-8cadcf57ce35" providerId="ADAL" clId="{5D18C0C2-102A-4970-B33C-1D15BE2F2270}" dt="2026-07-11T20:02:33.470" v="3171"/>
          <ac:graphicFrameMkLst>
            <pc:docMk/>
            <pc:sldMk cId="4246371013" sldId="527"/>
            <ac:graphicFrameMk id="4" creationId="{6728E581-03DC-9CFF-90E0-C125D0B84038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20:03:10.284" v="3184" actId="14734"/>
          <ac:graphicFrameMkLst>
            <pc:docMk/>
            <pc:sldMk cId="4246371013" sldId="527"/>
            <ac:graphicFrameMk id="5" creationId="{239591D6-CB13-2D64-6E92-2E348E87A641}"/>
          </ac:graphicFrameMkLst>
        </pc:graphicFrameChg>
      </pc:sldChg>
      <pc:sldChg chg="addSp delSp modSp new del mod">
        <pc:chgData name="Dann Bleeker Pedersen" userId="34252400-a232-4440-8831-8cadcf57ce35" providerId="ADAL" clId="{5D18C0C2-102A-4970-B33C-1D15BE2F2270}" dt="2026-07-11T20:05:12.531" v="4165" actId="47"/>
        <pc:sldMkLst>
          <pc:docMk/>
          <pc:sldMk cId="4060783898" sldId="528"/>
        </pc:sldMkLst>
        <pc:spChg chg="mod ord">
          <ac:chgData name="Dann Bleeker Pedersen" userId="34252400-a232-4440-8831-8cadcf57ce35" providerId="ADAL" clId="{5D18C0C2-102A-4970-B33C-1D15BE2F2270}" dt="2026-07-11T20:04:13.478" v="4134"/>
          <ac:spMkLst>
            <pc:docMk/>
            <pc:sldMk cId="4060783898" sldId="528"/>
            <ac:spMk id="2" creationId="{3A1BABEF-6FD4-928E-9F3B-4C687872E398}"/>
          </ac:spMkLst>
        </pc:spChg>
        <pc:spChg chg="mod ord">
          <ac:chgData name="Dann Bleeker Pedersen" userId="34252400-a232-4440-8831-8cadcf57ce35" providerId="ADAL" clId="{5D18C0C2-102A-4970-B33C-1D15BE2F2270}" dt="2026-07-11T20:04:13.478" v="4134"/>
          <ac:spMkLst>
            <pc:docMk/>
            <pc:sldMk cId="4060783898" sldId="528"/>
            <ac:spMk id="3" creationId="{D4AD16C9-5267-822E-02BD-256F7B5DCF04}"/>
          </ac:spMkLst>
        </pc:spChg>
        <pc:spChg chg="mod">
          <ac:chgData name="Dann Bleeker Pedersen" userId="34252400-a232-4440-8831-8cadcf57ce35" providerId="ADAL" clId="{5D18C0C2-102A-4970-B33C-1D15BE2F2270}" dt="2026-07-11T20:04:04.621" v="3789"/>
          <ac:spMkLst>
            <pc:docMk/>
            <pc:sldMk cId="4060783898" sldId="528"/>
            <ac:spMk id="5" creationId="{B322295C-F488-C711-3554-26E12440AD71}"/>
          </ac:spMkLst>
        </pc:spChg>
        <pc:spChg chg="add mod">
          <ac:chgData name="Dann Bleeker Pedersen" userId="34252400-a232-4440-8831-8cadcf57ce35" providerId="ADAL" clId="{5D18C0C2-102A-4970-B33C-1D15BE2F2270}" dt="2026-07-11T20:04:04.621" v="3788"/>
          <ac:spMkLst>
            <pc:docMk/>
            <pc:sldMk cId="4060783898" sldId="528"/>
            <ac:spMk id="6" creationId="{77C156F7-DCC8-2CC2-4339-EAAE7AF4E8C9}"/>
          </ac:spMkLst>
        </pc:spChg>
        <pc:spChg chg="mod">
          <ac:chgData name="Dann Bleeker Pedersen" userId="34252400-a232-4440-8831-8cadcf57ce35" providerId="ADAL" clId="{5D18C0C2-102A-4970-B33C-1D15BE2F2270}" dt="2026-07-11T20:04:04.621" v="3790"/>
          <ac:spMkLst>
            <pc:docMk/>
            <pc:sldMk cId="4060783898" sldId="528"/>
            <ac:spMk id="7" creationId="{96476BBB-6496-1EB6-14B4-647F04B11EFC}"/>
          </ac:spMkLst>
        </pc:spChg>
        <pc:spChg chg="mod">
          <ac:chgData name="Dann Bleeker Pedersen" userId="34252400-a232-4440-8831-8cadcf57ce35" providerId="ADAL" clId="{5D18C0C2-102A-4970-B33C-1D15BE2F2270}" dt="2026-07-11T20:04:04.622" v="3791"/>
          <ac:spMkLst>
            <pc:docMk/>
            <pc:sldMk cId="4060783898" sldId="528"/>
            <ac:spMk id="8" creationId="{2FDF2EE8-CCDF-2817-247A-382CEB3A204D}"/>
          </ac:spMkLst>
        </pc:spChg>
        <pc:spChg chg="add del mod">
          <ac:chgData name="Dann Bleeker Pedersen" userId="34252400-a232-4440-8831-8cadcf57ce35" providerId="ADAL" clId="{5D18C0C2-102A-4970-B33C-1D15BE2F2270}" dt="2026-07-11T20:04:13.478" v="4134"/>
          <ac:spMkLst>
            <pc:docMk/>
            <pc:sldMk cId="4060783898" sldId="528"/>
            <ac:spMk id="9" creationId="{4D778B72-B4EF-4D00-0AC1-DB31DD4602D8}"/>
          </ac:spMkLst>
        </pc:spChg>
        <pc:spChg chg="add del mod">
          <ac:chgData name="Dann Bleeker Pedersen" userId="34252400-a232-4440-8831-8cadcf57ce35" providerId="ADAL" clId="{5D18C0C2-102A-4970-B33C-1D15BE2F2270}" dt="2026-07-11T20:04:13.458" v="4107" actId="478"/>
          <ac:spMkLst>
            <pc:docMk/>
            <pc:sldMk cId="4060783898" sldId="528"/>
            <ac:spMk id="10" creationId="{576C1E9A-EDC8-3241-D7E2-E337D4D170ED}"/>
          </ac:spMkLst>
        </pc:spChg>
        <pc:spChg chg="add del mod">
          <ac:chgData name="Dann Bleeker Pedersen" userId="34252400-a232-4440-8831-8cadcf57ce35" providerId="ADAL" clId="{5D18C0C2-102A-4970-B33C-1D15BE2F2270}" dt="2026-07-11T20:04:13.478" v="4134"/>
          <ac:spMkLst>
            <pc:docMk/>
            <pc:sldMk cId="4060783898" sldId="528"/>
            <ac:spMk id="11" creationId="{EB8C9DC6-5188-6E4C-5EED-A34FE77108B8}"/>
          </ac:spMkLst>
        </pc:spChg>
        <pc:spChg chg="add del mod">
          <ac:chgData name="Dann Bleeker Pedersen" userId="34252400-a232-4440-8831-8cadcf57ce35" providerId="ADAL" clId="{5D18C0C2-102A-4970-B33C-1D15BE2F2270}" dt="2026-07-11T20:04:13.461" v="4109" actId="478"/>
          <ac:spMkLst>
            <pc:docMk/>
            <pc:sldMk cId="4060783898" sldId="528"/>
            <ac:spMk id="12" creationId="{C67EFC18-21E5-E556-FA88-5D102A9A96CF}"/>
          </ac:spMkLst>
        </pc:spChg>
        <pc:spChg chg="add del mod">
          <ac:chgData name="Dann Bleeker Pedersen" userId="34252400-a232-4440-8831-8cadcf57ce35" providerId="ADAL" clId="{5D18C0C2-102A-4970-B33C-1D15BE2F2270}" dt="2026-07-11T20:04:13.462" v="4110" actId="478"/>
          <ac:spMkLst>
            <pc:docMk/>
            <pc:sldMk cId="4060783898" sldId="528"/>
            <ac:spMk id="13" creationId="{55FFBEFA-1BCA-C170-FABD-3212FFB04139}"/>
          </ac:spMkLst>
        </pc:spChg>
        <pc:spChg chg="add del">
          <ac:chgData name="Dann Bleeker Pedersen" userId="34252400-a232-4440-8831-8cadcf57ce35" providerId="ADAL" clId="{5D18C0C2-102A-4970-B33C-1D15BE2F2270}" dt="2026-07-11T20:04:13.439" v="4090" actId="478"/>
          <ac:spMkLst>
            <pc:docMk/>
            <pc:sldMk cId="4060783898" sldId="528"/>
            <ac:spMk id="33" creationId="{7BFCB192-8D54-41FD-93B2-8AE80ABE7410}"/>
          </ac:spMkLst>
        </pc:spChg>
        <pc:spChg chg="add del mod">
          <ac:chgData name="Dann Bleeker Pedersen" userId="34252400-a232-4440-8831-8cadcf57ce35" providerId="ADAL" clId="{5D18C0C2-102A-4970-B33C-1D15BE2F2270}" dt="2026-07-11T20:04:13.478" v="4134"/>
          <ac:spMkLst>
            <pc:docMk/>
            <pc:sldMk cId="4060783898" sldId="528"/>
            <ac:spMk id="34" creationId="{EF151CE1-D7AF-9A17-BE31-15094D68832C}"/>
          </ac:spMkLst>
        </pc:spChg>
        <pc:spChg chg="add del mod">
          <ac:chgData name="Dann Bleeker Pedersen" userId="34252400-a232-4440-8831-8cadcf57ce35" providerId="ADAL" clId="{5D18C0C2-102A-4970-B33C-1D15BE2F2270}" dt="2026-07-11T20:04:13.478" v="4134"/>
          <ac:spMkLst>
            <pc:docMk/>
            <pc:sldMk cId="4060783898" sldId="528"/>
            <ac:spMk id="35" creationId="{CB35EE25-2D21-793B-97BF-E7AC084BA8EA}"/>
          </ac:spMkLst>
        </pc:spChg>
        <pc:spChg chg="add del">
          <ac:chgData name="Dann Bleeker Pedersen" userId="34252400-a232-4440-8831-8cadcf57ce35" providerId="ADAL" clId="{5D18C0C2-102A-4970-B33C-1D15BE2F2270}" dt="2026-07-11T20:04:13.434" v="4086" actId="478"/>
          <ac:spMkLst>
            <pc:docMk/>
            <pc:sldMk cId="4060783898" sldId="528"/>
            <ac:spMk id="36" creationId="{392C64A3-FCF4-93F2-D666-69BDD8B210E0}"/>
          </ac:spMkLst>
        </pc:spChg>
        <pc:spChg chg="add del mod">
          <ac:chgData name="Dann Bleeker Pedersen" userId="34252400-a232-4440-8831-8cadcf57ce35" providerId="ADAL" clId="{5D18C0C2-102A-4970-B33C-1D15BE2F2270}" dt="2026-07-11T20:04:13.478" v="4134"/>
          <ac:spMkLst>
            <pc:docMk/>
            <pc:sldMk cId="4060783898" sldId="528"/>
            <ac:spMk id="37" creationId="{001D31D5-C136-C0EA-BDFA-A8D874308BD0}"/>
          </ac:spMkLst>
        </pc:spChg>
        <pc:spChg chg="add del">
          <ac:chgData name="Dann Bleeker Pedersen" userId="34252400-a232-4440-8831-8cadcf57ce35" providerId="ADAL" clId="{5D18C0C2-102A-4970-B33C-1D15BE2F2270}" dt="2026-07-11T20:04:13.432" v="4084" actId="478"/>
          <ac:spMkLst>
            <pc:docMk/>
            <pc:sldMk cId="4060783898" sldId="528"/>
            <ac:spMk id="38" creationId="{1DEED675-6BCE-620D-5459-26AC7EE72BF7}"/>
          </ac:spMkLst>
        </pc:spChg>
        <pc:spChg chg="add del">
          <ac:chgData name="Dann Bleeker Pedersen" userId="34252400-a232-4440-8831-8cadcf57ce35" providerId="ADAL" clId="{5D18C0C2-102A-4970-B33C-1D15BE2F2270}" dt="2026-07-11T20:04:13.478" v="4134"/>
          <ac:spMkLst>
            <pc:docMk/>
            <pc:sldMk cId="4060783898" sldId="528"/>
            <ac:spMk id="39" creationId="{E94B6D67-2616-C581-3F2A-100423BCB4B0}"/>
          </ac:spMkLst>
        </pc:spChg>
        <pc:spChg chg="add del">
          <ac:chgData name="Dann Bleeker Pedersen" userId="34252400-a232-4440-8831-8cadcf57ce35" providerId="ADAL" clId="{5D18C0C2-102A-4970-B33C-1D15BE2F2270}" dt="2026-07-11T20:04:13.436" v="4087" actId="478"/>
          <ac:spMkLst>
            <pc:docMk/>
            <pc:sldMk cId="4060783898" sldId="528"/>
            <ac:spMk id="40" creationId="{809103A7-825D-B98F-B9BC-5174BBBA2583}"/>
          </ac:spMkLst>
        </pc:spChg>
        <pc:spChg chg="add mod">
          <ac:chgData name="Dann Bleeker Pedersen" userId="34252400-a232-4440-8831-8cadcf57ce35" providerId="ADAL" clId="{5D18C0C2-102A-4970-B33C-1D15BE2F2270}" dt="2026-07-11T20:04:04.635" v="3846"/>
          <ac:spMkLst>
            <pc:docMk/>
            <pc:sldMk cId="4060783898" sldId="528"/>
            <ac:spMk id="41" creationId="{7F59EB44-F15B-6B7C-8C04-A86893648510}"/>
          </ac:spMkLst>
        </pc:spChg>
        <pc:spChg chg="add mod">
          <ac:chgData name="Dann Bleeker Pedersen" userId="34252400-a232-4440-8831-8cadcf57ce35" providerId="ADAL" clId="{5D18C0C2-102A-4970-B33C-1D15BE2F2270}" dt="2026-07-11T20:04:04.633" v="3840"/>
          <ac:spMkLst>
            <pc:docMk/>
            <pc:sldMk cId="4060783898" sldId="528"/>
            <ac:spMk id="42" creationId="{F8190918-C52C-4590-79FA-4184412A24F3}"/>
          </ac:spMkLst>
        </pc:spChg>
        <pc:spChg chg="mod">
          <ac:chgData name="Dann Bleeker Pedersen" userId="34252400-a232-4440-8831-8cadcf57ce35" providerId="ADAL" clId="{5D18C0C2-102A-4970-B33C-1D15BE2F2270}" dt="2026-07-11T20:04:04.633" v="3841"/>
          <ac:spMkLst>
            <pc:docMk/>
            <pc:sldMk cId="4060783898" sldId="528"/>
            <ac:spMk id="43" creationId="{0B4B0B4D-5731-2091-3B56-1928991E8D5F}"/>
          </ac:spMkLst>
        </pc:spChg>
        <pc:spChg chg="mod">
          <ac:chgData name="Dann Bleeker Pedersen" userId="34252400-a232-4440-8831-8cadcf57ce35" providerId="ADAL" clId="{5D18C0C2-102A-4970-B33C-1D15BE2F2270}" dt="2026-07-11T20:04:04.634" v="3842"/>
          <ac:spMkLst>
            <pc:docMk/>
            <pc:sldMk cId="4060783898" sldId="528"/>
            <ac:spMk id="44" creationId="{D1C11A78-07EB-5A52-09B3-32464697C1D2}"/>
          </ac:spMkLst>
        </pc:spChg>
        <pc:spChg chg="mod">
          <ac:chgData name="Dann Bleeker Pedersen" userId="34252400-a232-4440-8831-8cadcf57ce35" providerId="ADAL" clId="{5D18C0C2-102A-4970-B33C-1D15BE2F2270}" dt="2026-07-11T20:04:04.634" v="3843"/>
          <ac:spMkLst>
            <pc:docMk/>
            <pc:sldMk cId="4060783898" sldId="528"/>
            <ac:spMk id="45" creationId="{0571E556-7A1F-A369-5AA2-95464339D667}"/>
          </ac:spMkLst>
        </pc:spChg>
        <pc:spChg chg="mod">
          <ac:chgData name="Dann Bleeker Pedersen" userId="34252400-a232-4440-8831-8cadcf57ce35" providerId="ADAL" clId="{5D18C0C2-102A-4970-B33C-1D15BE2F2270}" dt="2026-07-11T20:04:04.634" v="3844"/>
          <ac:spMkLst>
            <pc:docMk/>
            <pc:sldMk cId="4060783898" sldId="528"/>
            <ac:spMk id="46" creationId="{A70F109A-568D-0144-FE5E-E0E6E761974D}"/>
          </ac:spMkLst>
        </pc:spChg>
        <pc:spChg chg="mod">
          <ac:chgData name="Dann Bleeker Pedersen" userId="34252400-a232-4440-8831-8cadcf57ce35" providerId="ADAL" clId="{5D18C0C2-102A-4970-B33C-1D15BE2F2270}" dt="2026-07-11T20:04:04.634" v="3845"/>
          <ac:spMkLst>
            <pc:docMk/>
            <pc:sldMk cId="4060783898" sldId="528"/>
            <ac:spMk id="47" creationId="{A2850D86-0FE1-0F27-90EC-58CED38A2513}"/>
          </ac:spMkLst>
        </pc:spChg>
        <pc:spChg chg="add mod">
          <ac:chgData name="Dann Bleeker Pedersen" userId="34252400-a232-4440-8831-8cadcf57ce35" providerId="ADAL" clId="{5D18C0C2-102A-4970-B33C-1D15BE2F2270}" dt="2026-07-11T20:04:04.635" v="3847"/>
          <ac:spMkLst>
            <pc:docMk/>
            <pc:sldMk cId="4060783898" sldId="528"/>
            <ac:spMk id="48" creationId="{67BF34A8-C6E2-05F8-0398-20B709629ED1}"/>
          </ac:spMkLst>
        </pc:spChg>
        <pc:spChg chg="mod">
          <ac:chgData name="Dann Bleeker Pedersen" userId="34252400-a232-4440-8831-8cadcf57ce35" providerId="ADAL" clId="{5D18C0C2-102A-4970-B33C-1D15BE2F2270}" dt="2026-07-11T20:04:04.635" v="3848"/>
          <ac:spMkLst>
            <pc:docMk/>
            <pc:sldMk cId="4060783898" sldId="528"/>
            <ac:spMk id="49" creationId="{C4198502-05FE-1754-82C0-42FCD24D6524}"/>
          </ac:spMkLst>
        </pc:spChg>
        <pc:spChg chg="mod">
          <ac:chgData name="Dann Bleeker Pedersen" userId="34252400-a232-4440-8831-8cadcf57ce35" providerId="ADAL" clId="{5D18C0C2-102A-4970-B33C-1D15BE2F2270}" dt="2026-07-11T20:04:04.635" v="3849"/>
          <ac:spMkLst>
            <pc:docMk/>
            <pc:sldMk cId="4060783898" sldId="528"/>
            <ac:spMk id="50" creationId="{7D054217-A9A1-C082-6C17-05A97EC9CFAD}"/>
          </ac:spMkLst>
        </pc:spChg>
        <pc:spChg chg="add mod">
          <ac:chgData name="Dann Bleeker Pedersen" userId="34252400-a232-4440-8831-8cadcf57ce35" providerId="ADAL" clId="{5D18C0C2-102A-4970-B33C-1D15BE2F2270}" dt="2026-07-11T20:04:04.636" v="3851"/>
          <ac:spMkLst>
            <pc:docMk/>
            <pc:sldMk cId="4060783898" sldId="528"/>
            <ac:spMk id="51" creationId="{7884E4C1-B11B-0291-B543-2D7759D1D01C}"/>
          </ac:spMkLst>
        </pc:spChg>
        <pc:spChg chg="add mod">
          <ac:chgData name="Dann Bleeker Pedersen" userId="34252400-a232-4440-8831-8cadcf57ce35" providerId="ADAL" clId="{5D18C0C2-102A-4970-B33C-1D15BE2F2270}" dt="2026-07-11T20:04:04.637" v="3853"/>
          <ac:spMkLst>
            <pc:docMk/>
            <pc:sldMk cId="4060783898" sldId="528"/>
            <ac:spMk id="52" creationId="{E50AEAD2-EA63-1131-9293-9A399BF66918}"/>
          </ac:spMkLst>
        </pc:spChg>
        <pc:spChg chg="add mod">
          <ac:chgData name="Dann Bleeker Pedersen" userId="34252400-a232-4440-8831-8cadcf57ce35" providerId="ADAL" clId="{5D18C0C2-102A-4970-B33C-1D15BE2F2270}" dt="2026-07-11T20:04:04.636" v="3852"/>
          <ac:spMkLst>
            <pc:docMk/>
            <pc:sldMk cId="4060783898" sldId="528"/>
            <ac:spMk id="53" creationId="{6E5207EF-F017-704D-DB69-5AE662D30F53}"/>
          </ac:spMkLst>
        </pc:spChg>
        <pc:spChg chg="mod">
          <ac:chgData name="Dann Bleeker Pedersen" userId="34252400-a232-4440-8831-8cadcf57ce35" providerId="ADAL" clId="{5D18C0C2-102A-4970-B33C-1D15BE2F2270}" dt="2026-07-11T20:04:04.636" v="3850"/>
          <ac:spMkLst>
            <pc:docMk/>
            <pc:sldMk cId="4060783898" sldId="528"/>
            <ac:spMk id="54" creationId="{DA94C1B1-963F-D14D-CFBE-E8BFBCF2AB65}"/>
          </ac:spMkLst>
        </pc:spChg>
        <pc:spChg chg="add del mod modVis">
          <ac:chgData name="Dann Bleeker Pedersen" userId="34252400-a232-4440-8831-8cadcf57ce35" providerId="ADAL" clId="{5D18C0C2-102A-4970-B33C-1D15BE2F2270}" dt="2026-07-11T20:03:49.680" v="3374"/>
          <ac:spMkLst>
            <pc:docMk/>
            <pc:sldMk cId="4060783898" sldId="528"/>
            <ac:spMk id="55" creationId="{ACBC9E9C-959E-2CEE-AACA-F9FA83F00672}"/>
          </ac:spMkLst>
        </pc:spChg>
        <pc:spChg chg="add mod ord">
          <ac:chgData name="Dann Bleeker Pedersen" userId="34252400-a232-4440-8831-8cadcf57ce35" providerId="ADAL" clId="{5D18C0C2-102A-4970-B33C-1D15BE2F2270}" dt="2026-07-11T20:04:13.474" v="4133" actId="948"/>
          <ac:spMkLst>
            <pc:docMk/>
            <pc:sldMk cId="4060783898" sldId="528"/>
            <ac:spMk id="56" creationId="{7F2E3A0E-6270-9110-0274-58128D4BBC6E}"/>
          </ac:spMkLst>
        </pc:spChg>
        <pc:spChg chg="add del mod modVis">
          <ac:chgData name="Dann Bleeker Pedersen" userId="34252400-a232-4440-8831-8cadcf57ce35" providerId="ADAL" clId="{5D18C0C2-102A-4970-B33C-1D15BE2F2270}" dt="2026-07-11T20:04:13.478" v="4134"/>
          <ac:spMkLst>
            <pc:docMk/>
            <pc:sldMk cId="4060783898" sldId="528"/>
            <ac:spMk id="57" creationId="{38E46AE2-ED76-4167-3D1C-68C120ABE868}"/>
          </ac:spMkLst>
        </pc:spChg>
        <pc:spChg chg="add mod ord">
          <ac:chgData name="Dann Bleeker Pedersen" userId="34252400-a232-4440-8831-8cadcf57ce35" providerId="ADAL" clId="{5D18C0C2-102A-4970-B33C-1D15BE2F2270}" dt="2026-07-11T20:04:13.478" v="4134"/>
          <ac:spMkLst>
            <pc:docMk/>
            <pc:sldMk cId="4060783898" sldId="528"/>
            <ac:spMk id="58" creationId="{034980B1-9885-8060-FEA3-95326BA5C0EB}"/>
          </ac:spMkLst>
        </pc:spChg>
        <pc:spChg chg="add mod ord">
          <ac:chgData name="Dann Bleeker Pedersen" userId="34252400-a232-4440-8831-8cadcf57ce35" providerId="ADAL" clId="{5D18C0C2-102A-4970-B33C-1D15BE2F2270}" dt="2026-07-11T20:04:12.333" v="4047"/>
          <ac:spMkLst>
            <pc:docMk/>
            <pc:sldMk cId="4060783898" sldId="528"/>
            <ac:spMk id="60" creationId="{19F4E781-E230-73FF-EFC7-C54AAD55E2C4}"/>
          </ac:spMkLst>
        </pc:spChg>
        <pc:spChg chg="add del mod modVis">
          <ac:chgData name="Dann Bleeker Pedersen" userId="34252400-a232-4440-8831-8cadcf57ce35" providerId="ADAL" clId="{5D18C0C2-102A-4970-B33C-1D15BE2F2270}" dt="2026-07-11T20:04:12.333" v="4047"/>
          <ac:spMkLst>
            <pc:docMk/>
            <pc:sldMk cId="4060783898" sldId="528"/>
            <ac:spMk id="61" creationId="{4567D811-6C9E-B718-02EB-294A8DD741D2}"/>
          </ac:spMkLst>
        </pc:spChg>
        <pc:spChg chg="add mod ord">
          <ac:chgData name="Dann Bleeker Pedersen" userId="34252400-a232-4440-8831-8cadcf57ce35" providerId="ADAL" clId="{5D18C0C2-102A-4970-B33C-1D15BE2F2270}" dt="2026-07-11T20:04:12.333" v="4047"/>
          <ac:spMkLst>
            <pc:docMk/>
            <pc:sldMk cId="4060783898" sldId="528"/>
            <ac:spMk id="62" creationId="{4B754E6D-7735-774C-8A5D-74F30EE14243}"/>
          </ac:spMkLst>
        </pc:spChg>
        <pc:spChg chg="add mod ord">
          <ac:chgData name="Dann Bleeker Pedersen" userId="34252400-a232-4440-8831-8cadcf57ce35" providerId="ADAL" clId="{5D18C0C2-102A-4970-B33C-1D15BE2F2270}" dt="2026-07-11T20:04:12.333" v="4047"/>
          <ac:spMkLst>
            <pc:docMk/>
            <pc:sldMk cId="4060783898" sldId="528"/>
            <ac:spMk id="63" creationId="{AEF70179-4AEE-11B0-A2D5-CCEC54288204}"/>
          </ac:spMkLst>
        </pc:spChg>
        <pc:graphicFrameChg chg="add mod ord modVis">
          <ac:chgData name="Dann Bleeker Pedersen" userId="34252400-a232-4440-8831-8cadcf57ce35" providerId="ADAL" clId="{5D18C0C2-102A-4970-B33C-1D15BE2F2270}" dt="2026-07-11T20:04:13.535" v="4136"/>
          <ac:graphicFrameMkLst>
            <pc:docMk/>
            <pc:sldMk cId="4060783898" sldId="528"/>
            <ac:graphicFrameMk id="4" creationId="{ECD3D10A-4719-545F-757F-99402F0E3C40}"/>
          </ac:graphicFrameMkLst>
        </pc:graphicFrameChg>
        <pc:cxnChg chg="add del">
          <ac:chgData name="Dann Bleeker Pedersen" userId="34252400-a232-4440-8831-8cadcf57ce35" providerId="ADAL" clId="{5D18C0C2-102A-4970-B33C-1D15BE2F2270}" dt="2026-07-11T20:04:13.443" v="4092" actId="478"/>
          <ac:cxnSpMkLst>
            <pc:docMk/>
            <pc:sldMk cId="4060783898" sldId="528"/>
            <ac:cxnSpMk id="14" creationId="{B86671E1-A8C5-310C-0861-2DFA5C1305B2}"/>
          </ac:cxnSpMkLst>
        </pc:cxnChg>
        <pc:cxnChg chg="add del">
          <ac:chgData name="Dann Bleeker Pedersen" userId="34252400-a232-4440-8831-8cadcf57ce35" providerId="ADAL" clId="{5D18C0C2-102A-4970-B33C-1D15BE2F2270}" dt="2026-07-11T20:04:13.426" v="4075" actId="478"/>
          <ac:cxnSpMkLst>
            <pc:docMk/>
            <pc:sldMk cId="4060783898" sldId="528"/>
            <ac:cxnSpMk id="15" creationId="{622316FC-6548-FCAE-50B8-61103C651AF4}"/>
          </ac:cxnSpMkLst>
        </pc:cxnChg>
        <pc:cxnChg chg="mod ord">
          <ac:chgData name="Dann Bleeker Pedersen" userId="34252400-a232-4440-8831-8cadcf57ce35" providerId="ADAL" clId="{5D18C0C2-102A-4970-B33C-1D15BE2F2270}" dt="2026-07-11T20:04:13.418" v="4059"/>
          <ac:cxnSpMkLst>
            <pc:docMk/>
            <pc:sldMk cId="4060783898" sldId="528"/>
            <ac:cxnSpMk id="16" creationId="{B42C7B08-97F5-65DA-8E45-85829F6B3292}"/>
          </ac:cxnSpMkLst>
        </pc:cxnChg>
        <pc:cxnChg chg="mod ord">
          <ac:chgData name="Dann Bleeker Pedersen" userId="34252400-a232-4440-8831-8cadcf57ce35" providerId="ADAL" clId="{5D18C0C2-102A-4970-B33C-1D15BE2F2270}" dt="2026-07-11T20:04:13.418" v="4058"/>
          <ac:cxnSpMkLst>
            <pc:docMk/>
            <pc:sldMk cId="4060783898" sldId="528"/>
            <ac:cxnSpMk id="17" creationId="{DBD61E61-AB1A-C0A5-8996-E1394E92501F}"/>
          </ac:cxnSpMkLst>
        </pc:cxnChg>
        <pc:cxnChg chg="add del">
          <ac:chgData name="Dann Bleeker Pedersen" userId="34252400-a232-4440-8831-8cadcf57ce35" providerId="ADAL" clId="{5D18C0C2-102A-4970-B33C-1D15BE2F2270}" dt="2026-07-11T20:04:13.421" v="4065" actId="478"/>
          <ac:cxnSpMkLst>
            <pc:docMk/>
            <pc:sldMk cId="4060783898" sldId="528"/>
            <ac:cxnSpMk id="18" creationId="{0E2730C0-35CA-6DAC-1F97-80DDA54FBDAF}"/>
          </ac:cxnSpMkLst>
        </pc:cxnChg>
        <pc:cxnChg chg="add del">
          <ac:chgData name="Dann Bleeker Pedersen" userId="34252400-a232-4440-8831-8cadcf57ce35" providerId="ADAL" clId="{5D18C0C2-102A-4970-B33C-1D15BE2F2270}" dt="2026-07-11T20:04:13.422" v="4066" actId="478"/>
          <ac:cxnSpMkLst>
            <pc:docMk/>
            <pc:sldMk cId="4060783898" sldId="528"/>
            <ac:cxnSpMk id="19" creationId="{9262D129-27FF-CD16-3889-7BCEBF9ACCB9}"/>
          </ac:cxnSpMkLst>
        </pc:cxnChg>
        <pc:cxnChg chg="add del">
          <ac:chgData name="Dann Bleeker Pedersen" userId="34252400-a232-4440-8831-8cadcf57ce35" providerId="ADAL" clId="{5D18C0C2-102A-4970-B33C-1D15BE2F2270}" dt="2026-07-11T20:04:13.422" v="4067" actId="478"/>
          <ac:cxnSpMkLst>
            <pc:docMk/>
            <pc:sldMk cId="4060783898" sldId="528"/>
            <ac:cxnSpMk id="20" creationId="{BC475C8E-D700-3326-D442-2E7966CD8812}"/>
          </ac:cxnSpMkLst>
        </pc:cxnChg>
        <pc:cxnChg chg="add del">
          <ac:chgData name="Dann Bleeker Pedersen" userId="34252400-a232-4440-8831-8cadcf57ce35" providerId="ADAL" clId="{5D18C0C2-102A-4970-B33C-1D15BE2F2270}" dt="2026-07-11T20:04:13.423" v="4068" actId="478"/>
          <ac:cxnSpMkLst>
            <pc:docMk/>
            <pc:sldMk cId="4060783898" sldId="528"/>
            <ac:cxnSpMk id="21" creationId="{D54B9D7F-B2B4-33FD-D7DF-0DB011EF2400}"/>
          </ac:cxnSpMkLst>
        </pc:cxnChg>
        <pc:cxnChg chg="add del">
          <ac:chgData name="Dann Bleeker Pedersen" userId="34252400-a232-4440-8831-8cadcf57ce35" providerId="ADAL" clId="{5D18C0C2-102A-4970-B33C-1D15BE2F2270}" dt="2026-07-11T20:04:13.423" v="4069" actId="478"/>
          <ac:cxnSpMkLst>
            <pc:docMk/>
            <pc:sldMk cId="4060783898" sldId="528"/>
            <ac:cxnSpMk id="22" creationId="{CC1C5553-C38D-6244-9C65-C3205FD79C99}"/>
          </ac:cxnSpMkLst>
        </pc:cxnChg>
        <pc:cxnChg chg="add del">
          <ac:chgData name="Dann Bleeker Pedersen" userId="34252400-a232-4440-8831-8cadcf57ce35" providerId="ADAL" clId="{5D18C0C2-102A-4970-B33C-1D15BE2F2270}" dt="2026-07-11T20:04:13.424" v="4071" actId="478"/>
          <ac:cxnSpMkLst>
            <pc:docMk/>
            <pc:sldMk cId="4060783898" sldId="528"/>
            <ac:cxnSpMk id="23" creationId="{2689FF57-CA3D-10F4-86CE-0D5E66882BCE}"/>
          </ac:cxnSpMkLst>
        </pc:cxnChg>
        <pc:cxnChg chg="add del">
          <ac:chgData name="Dann Bleeker Pedersen" userId="34252400-a232-4440-8831-8cadcf57ce35" providerId="ADAL" clId="{5D18C0C2-102A-4970-B33C-1D15BE2F2270}" dt="2026-07-11T20:04:13.425" v="4072" actId="478"/>
          <ac:cxnSpMkLst>
            <pc:docMk/>
            <pc:sldMk cId="4060783898" sldId="528"/>
            <ac:cxnSpMk id="24" creationId="{C478B680-90FD-497D-C68D-9D8A2068446F}"/>
          </ac:cxnSpMkLst>
        </pc:cxnChg>
        <pc:cxnChg chg="add del">
          <ac:chgData name="Dann Bleeker Pedersen" userId="34252400-a232-4440-8831-8cadcf57ce35" providerId="ADAL" clId="{5D18C0C2-102A-4970-B33C-1D15BE2F2270}" dt="2026-07-11T20:04:13.425" v="4073" actId="478"/>
          <ac:cxnSpMkLst>
            <pc:docMk/>
            <pc:sldMk cId="4060783898" sldId="528"/>
            <ac:cxnSpMk id="25" creationId="{EE1031E0-466D-B970-8F94-D75A7FA47034}"/>
          </ac:cxnSpMkLst>
        </pc:cxnChg>
        <pc:cxnChg chg="add del">
          <ac:chgData name="Dann Bleeker Pedersen" userId="34252400-a232-4440-8831-8cadcf57ce35" providerId="ADAL" clId="{5D18C0C2-102A-4970-B33C-1D15BE2F2270}" dt="2026-07-11T20:04:13.424" v="4070" actId="478"/>
          <ac:cxnSpMkLst>
            <pc:docMk/>
            <pc:sldMk cId="4060783898" sldId="528"/>
            <ac:cxnSpMk id="26" creationId="{5A25E754-141C-DF31-8A7E-82CF8E0B767A}"/>
          </ac:cxnSpMkLst>
        </pc:cxnChg>
        <pc:cxnChg chg="add del">
          <ac:chgData name="Dann Bleeker Pedersen" userId="34252400-a232-4440-8831-8cadcf57ce35" providerId="ADAL" clId="{5D18C0C2-102A-4970-B33C-1D15BE2F2270}" dt="2026-07-11T20:04:13.426" v="4074" actId="478"/>
          <ac:cxnSpMkLst>
            <pc:docMk/>
            <pc:sldMk cId="4060783898" sldId="528"/>
            <ac:cxnSpMk id="27" creationId="{4E2C4166-6C7A-94C6-1E47-E7FC30CD4FE4}"/>
          </ac:cxnSpMkLst>
        </pc:cxnChg>
        <pc:cxnChg chg="mod ord">
          <ac:chgData name="Dann Bleeker Pedersen" userId="34252400-a232-4440-8831-8cadcf57ce35" providerId="ADAL" clId="{5D18C0C2-102A-4970-B33C-1D15BE2F2270}" dt="2026-07-11T20:04:13.417" v="4057"/>
          <ac:cxnSpMkLst>
            <pc:docMk/>
            <pc:sldMk cId="4060783898" sldId="528"/>
            <ac:cxnSpMk id="28" creationId="{1B89B25D-69C6-B743-3954-C5E3BCE082C8}"/>
          </ac:cxnSpMkLst>
        </pc:cxnChg>
        <pc:cxnChg chg="mod ord">
          <ac:chgData name="Dann Bleeker Pedersen" userId="34252400-a232-4440-8831-8cadcf57ce35" providerId="ADAL" clId="{5D18C0C2-102A-4970-B33C-1D15BE2F2270}" dt="2026-07-11T20:04:13.417" v="4056"/>
          <ac:cxnSpMkLst>
            <pc:docMk/>
            <pc:sldMk cId="4060783898" sldId="528"/>
            <ac:cxnSpMk id="29" creationId="{486AE079-940B-7248-1CA2-824CD24205F4}"/>
          </ac:cxnSpMkLst>
        </pc:cxnChg>
        <pc:cxnChg chg="mod ord">
          <ac:chgData name="Dann Bleeker Pedersen" userId="34252400-a232-4440-8831-8cadcf57ce35" providerId="ADAL" clId="{5D18C0C2-102A-4970-B33C-1D15BE2F2270}" dt="2026-07-11T20:04:13.417" v="4055"/>
          <ac:cxnSpMkLst>
            <pc:docMk/>
            <pc:sldMk cId="4060783898" sldId="528"/>
            <ac:cxnSpMk id="30" creationId="{18F8A96F-FB81-7833-7D78-DA0CE640CF80}"/>
          </ac:cxnSpMkLst>
        </pc:cxnChg>
        <pc:cxnChg chg="mod ord">
          <ac:chgData name="Dann Bleeker Pedersen" userId="34252400-a232-4440-8831-8cadcf57ce35" providerId="ADAL" clId="{5D18C0C2-102A-4970-B33C-1D15BE2F2270}" dt="2026-07-11T20:04:13.416" v="4054"/>
          <ac:cxnSpMkLst>
            <pc:docMk/>
            <pc:sldMk cId="4060783898" sldId="528"/>
            <ac:cxnSpMk id="31" creationId="{8D86D376-9A00-7373-DF49-1F5CDCE3F606}"/>
          </ac:cxnSpMkLst>
        </pc:cxnChg>
        <pc:cxnChg chg="mod ord">
          <ac:chgData name="Dann Bleeker Pedersen" userId="34252400-a232-4440-8831-8cadcf57ce35" providerId="ADAL" clId="{5D18C0C2-102A-4970-B33C-1D15BE2F2270}" dt="2026-07-11T20:04:13.416" v="4053"/>
          <ac:cxnSpMkLst>
            <pc:docMk/>
            <pc:sldMk cId="4060783898" sldId="528"/>
            <ac:cxnSpMk id="32" creationId="{9B43223C-1461-F840-6F53-6B7E6219B54A}"/>
          </ac:cxnSpMkLst>
        </pc:cxnChg>
        <pc:cxnChg chg="add mod ord">
          <ac:chgData name="Dann Bleeker Pedersen" userId="34252400-a232-4440-8831-8cadcf57ce35" providerId="ADAL" clId="{5D18C0C2-102A-4970-B33C-1D15BE2F2270}" dt="2026-07-11T20:04:13.429" v="4080" actId="1076"/>
          <ac:cxnSpMkLst>
            <pc:docMk/>
            <pc:sldMk cId="4060783898" sldId="528"/>
            <ac:cxnSpMk id="59" creationId="{4B99DCF2-6649-E387-05AE-2EE8392B45C3}"/>
          </ac:cxnSpMkLst>
        </pc:cxnChg>
        <pc:cxnChg chg="add mod ord">
          <ac:chgData name="Dann Bleeker Pedersen" userId="34252400-a232-4440-8831-8cadcf57ce35" providerId="ADAL" clId="{5D18C0C2-102A-4970-B33C-1D15BE2F2270}" dt="2026-07-11T20:04:12.231" v="3984" actId="13822"/>
          <ac:cxnSpMkLst>
            <pc:docMk/>
            <pc:sldMk cId="4060783898" sldId="528"/>
            <ac:cxnSpMk id="64" creationId="{7E2D113F-7E6C-E202-E716-A1431488500C}"/>
          </ac:cxnSpMkLst>
        </pc:cxnChg>
        <pc:cxnChg chg="add mod ord">
          <ac:chgData name="Dann Bleeker Pedersen" userId="34252400-a232-4440-8831-8cadcf57ce35" providerId="ADAL" clId="{5D18C0C2-102A-4970-B33C-1D15BE2F2270}" dt="2026-07-11T20:04:12.219" v="3975" actId="13822"/>
          <ac:cxnSpMkLst>
            <pc:docMk/>
            <pc:sldMk cId="4060783898" sldId="528"/>
            <ac:cxnSpMk id="65" creationId="{4ABA4DDC-B5BD-EC6A-2783-7B30D120124B}"/>
          </ac:cxnSpMkLst>
        </pc:cxnChg>
        <pc:cxnChg chg="add mod ord">
          <ac:chgData name="Dann Bleeker Pedersen" userId="34252400-a232-4440-8831-8cadcf57ce35" providerId="ADAL" clId="{5D18C0C2-102A-4970-B33C-1D15BE2F2270}" dt="2026-07-11T20:04:12.209" v="3966" actId="13822"/>
          <ac:cxnSpMkLst>
            <pc:docMk/>
            <pc:sldMk cId="4060783898" sldId="528"/>
            <ac:cxnSpMk id="66" creationId="{FA58107B-180B-B237-C994-E253DFF74A8C}"/>
          </ac:cxnSpMkLst>
        </pc:cxnChg>
        <pc:cxnChg chg="add mod ord">
          <ac:chgData name="Dann Bleeker Pedersen" userId="34252400-a232-4440-8831-8cadcf57ce35" providerId="ADAL" clId="{5D18C0C2-102A-4970-B33C-1D15BE2F2270}" dt="2026-07-11T20:04:12.199" v="3957" actId="13822"/>
          <ac:cxnSpMkLst>
            <pc:docMk/>
            <pc:sldMk cId="4060783898" sldId="528"/>
            <ac:cxnSpMk id="67" creationId="{D0093A94-160A-604A-5467-F2BB49070E86}"/>
          </ac:cxnSpMkLst>
        </pc:cxnChg>
        <pc:cxnChg chg="add mod ord">
          <ac:chgData name="Dann Bleeker Pedersen" userId="34252400-a232-4440-8831-8cadcf57ce35" providerId="ADAL" clId="{5D18C0C2-102A-4970-B33C-1D15BE2F2270}" dt="2026-07-11T20:04:12.188" v="3948" actId="13822"/>
          <ac:cxnSpMkLst>
            <pc:docMk/>
            <pc:sldMk cId="4060783898" sldId="528"/>
            <ac:cxnSpMk id="68" creationId="{87D913CF-C99A-3A36-B3C2-9950246E0525}"/>
          </ac:cxnSpMkLst>
        </pc:cxnChg>
        <pc:cxnChg chg="add mod ord">
          <ac:chgData name="Dann Bleeker Pedersen" userId="34252400-a232-4440-8831-8cadcf57ce35" providerId="ADAL" clId="{5D18C0C2-102A-4970-B33C-1D15BE2F2270}" dt="2026-07-11T20:04:12.178" v="3939" actId="13822"/>
          <ac:cxnSpMkLst>
            <pc:docMk/>
            <pc:sldMk cId="4060783898" sldId="528"/>
            <ac:cxnSpMk id="69" creationId="{EAE9BF10-61FB-AE64-9AC9-2256767ED309}"/>
          </ac:cxnSpMkLst>
        </pc:cxnChg>
        <pc:cxnChg chg="add mod ord">
          <ac:chgData name="Dann Bleeker Pedersen" userId="34252400-a232-4440-8831-8cadcf57ce35" providerId="ADAL" clId="{5D18C0C2-102A-4970-B33C-1D15BE2F2270}" dt="2026-07-11T20:04:12.167" v="3930" actId="13822"/>
          <ac:cxnSpMkLst>
            <pc:docMk/>
            <pc:sldMk cId="4060783898" sldId="528"/>
            <ac:cxnSpMk id="70" creationId="{7E2ED511-EFCF-3A68-56D8-B3A1EDCD915E}"/>
          </ac:cxnSpMkLst>
        </pc:cxnChg>
        <pc:cxnChg chg="add mod ord">
          <ac:chgData name="Dann Bleeker Pedersen" userId="34252400-a232-4440-8831-8cadcf57ce35" providerId="ADAL" clId="{5D18C0C2-102A-4970-B33C-1D15BE2F2270}" dt="2026-07-11T20:04:12.155" v="3921" actId="13822"/>
          <ac:cxnSpMkLst>
            <pc:docMk/>
            <pc:sldMk cId="4060783898" sldId="528"/>
            <ac:cxnSpMk id="71" creationId="{7D232E77-C538-99FD-4B3A-584D77345858}"/>
          </ac:cxnSpMkLst>
        </pc:cxnChg>
        <pc:cxnChg chg="add mod ord">
          <ac:chgData name="Dann Bleeker Pedersen" userId="34252400-a232-4440-8831-8cadcf57ce35" providerId="ADAL" clId="{5D18C0C2-102A-4970-B33C-1D15BE2F2270}" dt="2026-07-11T20:04:12.144" v="3912" actId="13822"/>
          <ac:cxnSpMkLst>
            <pc:docMk/>
            <pc:sldMk cId="4060783898" sldId="528"/>
            <ac:cxnSpMk id="72" creationId="{801B93D1-DF15-23C0-1C88-EAD90A2B4327}"/>
          </ac:cxnSpMkLst>
        </pc:cxnChg>
        <pc:cxnChg chg="add mod ord">
          <ac:chgData name="Dann Bleeker Pedersen" userId="34252400-a232-4440-8831-8cadcf57ce35" providerId="ADAL" clId="{5D18C0C2-102A-4970-B33C-1D15BE2F2270}" dt="2026-07-11T20:04:12.131" v="3903" actId="13822"/>
          <ac:cxnSpMkLst>
            <pc:docMk/>
            <pc:sldMk cId="4060783898" sldId="528"/>
            <ac:cxnSpMk id="73" creationId="{44F915D9-37FF-30CD-E9E4-F8DD79F15A14}"/>
          </ac:cxnSpMkLst>
        </pc:cxnChg>
        <pc:cxnChg chg="add mod ord">
          <ac:chgData name="Dann Bleeker Pedersen" userId="34252400-a232-4440-8831-8cadcf57ce35" providerId="ADAL" clId="{5D18C0C2-102A-4970-B33C-1D15BE2F2270}" dt="2026-07-11T20:04:12.119" v="3894" actId="13822"/>
          <ac:cxnSpMkLst>
            <pc:docMk/>
            <pc:sldMk cId="4060783898" sldId="528"/>
            <ac:cxnSpMk id="74" creationId="{341A1874-EA15-459B-F6EB-9681851B3862}"/>
          </ac:cxnSpMkLst>
        </pc:cxnChg>
      </pc:sldChg>
      <pc:sldChg chg="addSp modSp new mod">
        <pc:chgData name="Dann Bleeker Pedersen" userId="34252400-a232-4440-8831-8cadcf57ce35" providerId="ADAL" clId="{5D18C0C2-102A-4970-B33C-1D15BE2F2270}" dt="2026-07-11T20:05:26.646" v="4166"/>
        <pc:sldMkLst>
          <pc:docMk/>
          <pc:sldMk cId="2146593833" sldId="529"/>
        </pc:sldMkLst>
        <pc:spChg chg="mod">
          <ac:chgData name="Dann Bleeker Pedersen" userId="34252400-a232-4440-8831-8cadcf57ce35" providerId="ADAL" clId="{5D18C0C2-102A-4970-B33C-1D15BE2F2270}" dt="2026-07-11T20:05:10.341" v="4150" actId="299"/>
          <ac:spMkLst>
            <pc:docMk/>
            <pc:sldMk cId="2146593833" sldId="529"/>
            <ac:spMk id="2" creationId="{A7A9EBAC-BB67-8CCF-5265-7CD356CA54C2}"/>
          </ac:spMkLst>
        </pc:spChg>
        <pc:spChg chg="mod">
          <ac:chgData name="Dann Bleeker Pedersen" userId="34252400-a232-4440-8831-8cadcf57ce35" providerId="ADAL" clId="{5D18C0C2-102A-4970-B33C-1D15BE2F2270}" dt="2026-07-11T20:05:00.519" v="4146" actId="20577"/>
          <ac:spMkLst>
            <pc:docMk/>
            <pc:sldMk cId="2146593833" sldId="529"/>
            <ac:spMk id="8" creationId="{4D778B72-B4EF-4D00-0AC1-DB31DD4602D8}"/>
          </ac:spMkLst>
        </pc:spChg>
        <pc:spChg chg="add mod">
          <ac:chgData name="Dann Bleeker Pedersen" userId="34252400-a232-4440-8831-8cadcf57ce35" providerId="ADAL" clId="{5D18C0C2-102A-4970-B33C-1D15BE2F2270}" dt="2026-07-11T20:05:26.646" v="4166"/>
          <ac:spMkLst>
            <pc:docMk/>
            <pc:sldMk cId="2146593833" sldId="529"/>
            <ac:spMk id="55" creationId="{241C3F89-FF2A-C2AE-A38A-8413383CA8F5}"/>
          </ac:spMkLst>
        </pc:spChg>
        <pc:graphicFrameChg chg="add mod ord modVis">
          <ac:chgData name="Dann Bleeker Pedersen" userId="34252400-a232-4440-8831-8cadcf57ce35" providerId="ADAL" clId="{5D18C0C2-102A-4970-B33C-1D15BE2F2270}" dt="2026-07-11T20:05:10.365" v="4164"/>
          <ac:graphicFrameMkLst>
            <pc:docMk/>
            <pc:sldMk cId="2146593833" sldId="529"/>
            <ac:graphicFrameMk id="54" creationId="{2AB308D9-CB74-B491-672F-DAF12CC24B49}"/>
          </ac:graphicFrameMkLst>
        </pc:graphicFrameChg>
      </pc:sldChg>
      <pc:sldChg chg="addSp modSp new mod">
        <pc:chgData name="Dann Bleeker Pedersen" userId="34252400-a232-4440-8831-8cadcf57ce35" providerId="ADAL" clId="{5D18C0C2-102A-4970-B33C-1D15BE2F2270}" dt="2026-07-11T20:06:03.172" v="4191" actId="403"/>
        <pc:sldMkLst>
          <pc:docMk/>
          <pc:sldMk cId="845876210" sldId="530"/>
        </pc:sldMkLst>
        <pc:spChg chg="mod">
          <ac:chgData name="Dann Bleeker Pedersen" userId="34252400-a232-4440-8831-8cadcf57ce35" providerId="ADAL" clId="{5D18C0C2-102A-4970-B33C-1D15BE2F2270}" dt="2026-07-11T20:05:44.427" v="4171" actId="299"/>
          <ac:spMkLst>
            <pc:docMk/>
            <pc:sldMk cId="845876210" sldId="530"/>
            <ac:spMk id="2" creationId="{028AE8B1-604D-42C6-068A-5ECF84BC5626}"/>
          </ac:spMkLst>
        </pc:spChg>
        <pc:graphicFrameChg chg="add mod ord modVis">
          <ac:chgData name="Dann Bleeker Pedersen" userId="34252400-a232-4440-8831-8cadcf57ce35" providerId="ADAL" clId="{5D18C0C2-102A-4970-B33C-1D15BE2F2270}" dt="2026-07-11T20:05:44.446" v="4185"/>
          <ac:graphicFrameMkLst>
            <pc:docMk/>
            <pc:sldMk cId="845876210" sldId="530"/>
            <ac:graphicFrameMk id="4" creationId="{FCE8D7E6-BF97-6442-056B-8DAF478E6EDA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20:06:03.172" v="4191" actId="403"/>
          <ac:graphicFrameMkLst>
            <pc:docMk/>
            <pc:sldMk cId="845876210" sldId="530"/>
            <ac:graphicFrameMk id="5" creationId="{3BFDAF41-7355-5654-9383-6F52542B5D92}"/>
          </ac:graphicFrameMkLst>
        </pc:graphicFrameChg>
      </pc:sldChg>
      <pc:sldChg chg="addSp modSp new mod">
        <pc:chgData name="Dann Bleeker Pedersen" userId="34252400-a232-4440-8831-8cadcf57ce35" providerId="ADAL" clId="{5D18C0C2-102A-4970-B33C-1D15BE2F2270}" dt="2026-07-11T20:08:19.883" v="4260" actId="1076"/>
        <pc:sldMkLst>
          <pc:docMk/>
          <pc:sldMk cId="2606207849" sldId="531"/>
        </pc:sldMkLst>
        <pc:spChg chg="mod">
          <ac:chgData name="Dann Bleeker Pedersen" userId="34252400-a232-4440-8831-8cadcf57ce35" providerId="ADAL" clId="{5D18C0C2-102A-4970-B33C-1D15BE2F2270}" dt="2026-07-11T20:06:27.038" v="4196" actId="299"/>
          <ac:spMkLst>
            <pc:docMk/>
            <pc:sldMk cId="2606207849" sldId="531"/>
            <ac:spMk id="2" creationId="{2F74F741-13C0-E7B4-EDB4-921B32F97724}"/>
          </ac:spMkLst>
        </pc:spChg>
        <pc:spChg chg="add mod">
          <ac:chgData name="Dann Bleeker Pedersen" userId="34252400-a232-4440-8831-8cadcf57ce35" providerId="ADAL" clId="{5D18C0C2-102A-4970-B33C-1D15BE2F2270}" dt="2026-07-11T20:08:19.883" v="4260" actId="1076"/>
          <ac:spMkLst>
            <pc:docMk/>
            <pc:sldMk cId="2606207849" sldId="531"/>
            <ac:spMk id="5" creationId="{C2BEEC27-C03E-0375-6088-D35DF408F239}"/>
          </ac:spMkLst>
        </pc:spChg>
        <pc:spChg chg="mod">
          <ac:chgData name="Dann Bleeker Pedersen" userId="34252400-a232-4440-8831-8cadcf57ce35" providerId="ADAL" clId="{5D18C0C2-102A-4970-B33C-1D15BE2F2270}" dt="2026-07-11T20:06:44.243" v="4213"/>
          <ac:spMkLst>
            <pc:docMk/>
            <pc:sldMk cId="2606207849" sldId="531"/>
            <ac:spMk id="7" creationId="{ECD32E8A-7204-1EBE-57C2-4444535810EF}"/>
          </ac:spMkLst>
        </pc:spChg>
        <pc:spChg chg="mod">
          <ac:chgData name="Dann Bleeker Pedersen" userId="34252400-a232-4440-8831-8cadcf57ce35" providerId="ADAL" clId="{5D18C0C2-102A-4970-B33C-1D15BE2F2270}" dt="2026-07-11T20:06:44.243" v="4213"/>
          <ac:spMkLst>
            <pc:docMk/>
            <pc:sldMk cId="2606207849" sldId="531"/>
            <ac:spMk id="9" creationId="{ADA88357-BD9C-E2F9-CBE1-7D84FD133CCC}"/>
          </ac:spMkLst>
        </pc:spChg>
        <pc:spChg chg="mod">
          <ac:chgData name="Dann Bleeker Pedersen" userId="34252400-a232-4440-8831-8cadcf57ce35" providerId="ADAL" clId="{5D18C0C2-102A-4970-B33C-1D15BE2F2270}" dt="2026-07-11T20:06:44.243" v="4213"/>
          <ac:spMkLst>
            <pc:docMk/>
            <pc:sldMk cId="2606207849" sldId="531"/>
            <ac:spMk id="10" creationId="{2F890396-1931-51AC-308B-2870D37A9233}"/>
          </ac:spMkLst>
        </pc:spChg>
        <pc:spChg chg="mod">
          <ac:chgData name="Dann Bleeker Pedersen" userId="34252400-a232-4440-8831-8cadcf57ce35" providerId="ADAL" clId="{5D18C0C2-102A-4970-B33C-1D15BE2F2270}" dt="2026-07-11T20:06:44.243" v="4213"/>
          <ac:spMkLst>
            <pc:docMk/>
            <pc:sldMk cId="2606207849" sldId="531"/>
            <ac:spMk id="12" creationId="{0AD9D17A-717F-2C2E-4742-BB03B2180A07}"/>
          </ac:spMkLst>
        </pc:spChg>
        <pc:spChg chg="mod">
          <ac:chgData name="Dann Bleeker Pedersen" userId="34252400-a232-4440-8831-8cadcf57ce35" providerId="ADAL" clId="{5D18C0C2-102A-4970-B33C-1D15BE2F2270}" dt="2026-07-11T20:06:44.243" v="4213"/>
          <ac:spMkLst>
            <pc:docMk/>
            <pc:sldMk cId="2606207849" sldId="531"/>
            <ac:spMk id="14" creationId="{37C8D2A7-1AD4-24A6-1EFF-20DA51F4B73C}"/>
          </ac:spMkLst>
        </pc:spChg>
        <pc:spChg chg="mod">
          <ac:chgData name="Dann Bleeker Pedersen" userId="34252400-a232-4440-8831-8cadcf57ce35" providerId="ADAL" clId="{5D18C0C2-102A-4970-B33C-1D15BE2F2270}" dt="2026-07-11T20:06:44.243" v="4213"/>
          <ac:spMkLst>
            <pc:docMk/>
            <pc:sldMk cId="2606207849" sldId="531"/>
            <ac:spMk id="15" creationId="{5AA06E34-020B-A318-5CAC-A95FC52D5321}"/>
          </ac:spMkLst>
        </pc:spChg>
        <pc:spChg chg="mod">
          <ac:chgData name="Dann Bleeker Pedersen" userId="34252400-a232-4440-8831-8cadcf57ce35" providerId="ADAL" clId="{5D18C0C2-102A-4970-B33C-1D15BE2F2270}" dt="2026-07-11T20:07:07.789" v="4216"/>
          <ac:spMkLst>
            <pc:docMk/>
            <pc:sldMk cId="2606207849" sldId="531"/>
            <ac:spMk id="17" creationId="{B28D49CB-0A42-3714-A5D6-7EDEC8743DF2}"/>
          </ac:spMkLst>
        </pc:spChg>
        <pc:spChg chg="mod">
          <ac:chgData name="Dann Bleeker Pedersen" userId="34252400-a232-4440-8831-8cadcf57ce35" providerId="ADAL" clId="{5D18C0C2-102A-4970-B33C-1D15BE2F2270}" dt="2026-07-11T20:08:06.148" v="4259" actId="20577"/>
          <ac:spMkLst>
            <pc:docMk/>
            <pc:sldMk cId="2606207849" sldId="531"/>
            <ac:spMk id="19" creationId="{4315E75E-B311-D287-8518-3F0075EB91EC}"/>
          </ac:spMkLst>
        </pc:spChg>
        <pc:spChg chg="mod">
          <ac:chgData name="Dann Bleeker Pedersen" userId="34252400-a232-4440-8831-8cadcf57ce35" providerId="ADAL" clId="{5D18C0C2-102A-4970-B33C-1D15BE2F2270}" dt="2026-07-11T20:07:07.789" v="4216"/>
          <ac:spMkLst>
            <pc:docMk/>
            <pc:sldMk cId="2606207849" sldId="531"/>
            <ac:spMk id="20" creationId="{3F80EDA9-E618-8C13-E70D-4086373EBE37}"/>
          </ac:spMkLst>
        </pc:spChg>
        <pc:grpChg chg="add mod">
          <ac:chgData name="Dann Bleeker Pedersen" userId="34252400-a232-4440-8831-8cadcf57ce35" providerId="ADAL" clId="{5D18C0C2-102A-4970-B33C-1D15BE2F2270}" dt="2026-07-11T20:07:33.057" v="4236" actId="14100"/>
          <ac:grpSpMkLst>
            <pc:docMk/>
            <pc:sldMk cId="2606207849" sldId="531"/>
            <ac:grpSpMk id="6" creationId="{511E568F-8195-85CA-5E3E-46456927911F}"/>
          </ac:grpSpMkLst>
        </pc:grpChg>
        <pc:grpChg chg="add mod">
          <ac:chgData name="Dann Bleeker Pedersen" userId="34252400-a232-4440-8831-8cadcf57ce35" providerId="ADAL" clId="{5D18C0C2-102A-4970-B33C-1D15BE2F2270}" dt="2026-07-11T20:07:55.087" v="4240" actId="1076"/>
          <ac:grpSpMkLst>
            <pc:docMk/>
            <pc:sldMk cId="2606207849" sldId="531"/>
            <ac:grpSpMk id="11" creationId="{C18D4CAE-3004-EFB3-8885-E1249C67156E}"/>
          </ac:grpSpMkLst>
        </pc:grpChg>
        <pc:grpChg chg="add mod">
          <ac:chgData name="Dann Bleeker Pedersen" userId="34252400-a232-4440-8831-8cadcf57ce35" providerId="ADAL" clId="{5D18C0C2-102A-4970-B33C-1D15BE2F2270}" dt="2026-07-11T20:07:55.087" v="4240" actId="1076"/>
          <ac:grpSpMkLst>
            <pc:docMk/>
            <pc:sldMk cId="2606207849" sldId="531"/>
            <ac:grpSpMk id="16" creationId="{24502AB2-3B5D-EF8F-EFA5-7D4E68F61C66}"/>
          </ac:grpSpMkLst>
        </pc:grpChg>
        <pc:graphicFrameChg chg="add mod ord modVis">
          <ac:chgData name="Dann Bleeker Pedersen" userId="34252400-a232-4440-8831-8cadcf57ce35" providerId="ADAL" clId="{5D18C0C2-102A-4970-B33C-1D15BE2F2270}" dt="2026-07-11T20:06:27.056" v="4210"/>
          <ac:graphicFrameMkLst>
            <pc:docMk/>
            <pc:sldMk cId="2606207849" sldId="531"/>
            <ac:graphicFrameMk id="4" creationId="{F371746F-2098-C8C8-1733-0586B4C10D63}"/>
          </ac:graphicFrameMkLst>
        </pc:graphicFrameChg>
        <pc:cxnChg chg="mod">
          <ac:chgData name="Dann Bleeker Pedersen" userId="34252400-a232-4440-8831-8cadcf57ce35" providerId="ADAL" clId="{5D18C0C2-102A-4970-B33C-1D15BE2F2270}" dt="2026-07-11T20:06:44.243" v="4213"/>
          <ac:cxnSpMkLst>
            <pc:docMk/>
            <pc:sldMk cId="2606207849" sldId="531"/>
            <ac:cxnSpMk id="8" creationId="{06C9A200-7FF6-FA7B-7CF4-A639063A8CA2}"/>
          </ac:cxnSpMkLst>
        </pc:cxnChg>
        <pc:cxnChg chg="mod">
          <ac:chgData name="Dann Bleeker Pedersen" userId="34252400-a232-4440-8831-8cadcf57ce35" providerId="ADAL" clId="{5D18C0C2-102A-4970-B33C-1D15BE2F2270}" dt="2026-07-11T20:06:44.243" v="4213"/>
          <ac:cxnSpMkLst>
            <pc:docMk/>
            <pc:sldMk cId="2606207849" sldId="531"/>
            <ac:cxnSpMk id="13" creationId="{248A8BFC-AC3D-CF18-AE51-6A9A8BF3C9DF}"/>
          </ac:cxnSpMkLst>
        </pc:cxnChg>
        <pc:cxnChg chg="mod">
          <ac:chgData name="Dann Bleeker Pedersen" userId="34252400-a232-4440-8831-8cadcf57ce35" providerId="ADAL" clId="{5D18C0C2-102A-4970-B33C-1D15BE2F2270}" dt="2026-07-11T20:07:07.789" v="4216"/>
          <ac:cxnSpMkLst>
            <pc:docMk/>
            <pc:sldMk cId="2606207849" sldId="531"/>
            <ac:cxnSpMk id="18" creationId="{63794F65-7C36-9F53-6229-A4D1DA58FCC8}"/>
          </ac:cxnSpMkLst>
        </pc:cxnChg>
      </pc:sldChg>
      <pc:sldChg chg="add">
        <pc:chgData name="Dann Bleeker Pedersen" userId="34252400-a232-4440-8831-8cadcf57ce35" providerId="ADAL" clId="{5D18C0C2-102A-4970-B33C-1D15BE2F2270}" dt="2026-07-11T20:10:00.791" v="4262"/>
        <pc:sldMkLst>
          <pc:docMk/>
          <pc:sldMk cId="1983050718" sldId="532"/>
        </pc:sldMkLst>
      </pc:sldChg>
      <pc:sldMasterChg chg="modSp mod">
        <pc:chgData name="Dann Bleeker Pedersen" userId="34252400-a232-4440-8831-8cadcf57ce35" providerId="ADAL" clId="{5D18C0C2-102A-4970-B33C-1D15BE2F2270}" dt="2026-07-11T16:57:46.013" v="17"/>
        <pc:sldMasterMkLst>
          <pc:docMk/>
          <pc:sldMasterMk cId="4193522406" sldId="2147483672"/>
        </pc:sldMasterMkLst>
        <pc:spChg chg="mod">
          <ac:chgData name="Dann Bleeker Pedersen" userId="34252400-a232-4440-8831-8cadcf57ce35" providerId="ADAL" clId="{5D18C0C2-102A-4970-B33C-1D15BE2F2270}" dt="2026-07-11T16:57:46.004" v="10" actId="299"/>
          <ac:spMkLst>
            <pc:docMk/>
            <pc:sldMasterMk cId="4193522406" sldId="2147483672"/>
            <ac:spMk id="2" creationId="{00000000-0000-0000-0000-000000000000}"/>
          </ac:spMkLst>
        </pc:spChg>
        <pc:graphicFrameChg chg="mod">
          <ac:chgData name="Dann Bleeker Pedersen" userId="34252400-a232-4440-8831-8cadcf57ce35" providerId="ADAL" clId="{5D18C0C2-102A-4970-B33C-1D15BE2F2270}" dt="2026-07-11T16:57:46.013" v="17"/>
          <ac:graphicFrameMkLst>
            <pc:docMk/>
            <pc:sldMasterMk cId="4193522406" sldId="2147483672"/>
            <ac:graphicFrameMk id="4" creationId="{A02C86C9-571B-405E-B4E7-76EC4DF9E845}"/>
          </ac:graphicFrameMkLst>
        </pc:graphicFrameChg>
      </pc:sldMasterChg>
      <pc:sldMasterChg chg="add addSldLayout modSldLayout">
        <pc:chgData name="Dann Bleeker Pedersen" userId="34252400-a232-4440-8831-8cadcf57ce35" providerId="ADAL" clId="{5D18C0C2-102A-4970-B33C-1D15BE2F2270}" dt="2026-07-11T17:10:44.850" v="1074"/>
        <pc:sldMasterMkLst>
          <pc:docMk/>
          <pc:sldMasterMk cId="4193522406" sldId="2147483681"/>
        </pc:sldMasterMkLst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2450474835" sldId="2147483682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4001822029" sldId="2147483683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1356590983" sldId="2147483684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1509829800" sldId="2147483685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1452599284" sldId="2147483686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2708253470" sldId="2147483687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4157829473" sldId="2147483688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83524141363863E-2"/>
          <c:y val="0.15824915824915825"/>
          <c:w val="0.94823295171727229"/>
          <c:h val="0.73316498316498313"/>
        </c:manualLayout>
      </c:layout>
      <c:barChart>
        <c:barDir val="col"/>
        <c:grouping val="stacked"/>
        <c:varyColors val="0"/>
        <c:ser>
          <c:idx val="0"/>
          <c:order val="0"/>
          <c:spPr>
            <a:pattFill prst="ltDnDiag">
              <a:fgClr>
                <a:srgbClr val="000000"/>
              </a:fgClr>
              <a:bgClr>
                <a:srgbClr val="FFFFFF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331649831649831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Verdana"/>
                      <a:ea typeface="+mn-ea"/>
                      <a:cs typeface="+mn-cs"/>
                      <a:sym typeface="Verdana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0E9-4AED-9BDD-F7BE67FC2004}"/>
                </c:ext>
              </c:extLst>
            </c:dLbl>
            <c:dLbl>
              <c:idx val="1"/>
              <c:layout>
                <c:manualLayout>
                  <c:x val="0"/>
                  <c:y val="-0.327441077441077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Verdana"/>
                      <a:ea typeface="+mn-ea"/>
                      <a:cs typeface="+mn-cs"/>
                      <a:sym typeface="Verdana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0E9-4AED-9BDD-F7BE67FC2004}"/>
                </c:ext>
              </c:extLst>
            </c:dLbl>
            <c:dLbl>
              <c:idx val="2"/>
              <c:layout>
                <c:manualLayout>
                  <c:x val="0"/>
                  <c:y val="-0.415824915824915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Verdana"/>
                      <a:ea typeface="+mn-ea"/>
                      <a:cs typeface="+mn-cs"/>
                      <a:sym typeface="Verdana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0E9-4AED-9BDD-F7BE67FC200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.5</c:v>
                </c:pt>
                <c:pt idx="1">
                  <c:v>5.3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0E9-4AED-9BDD-F7BE67FC20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02441408"/>
        <c:axId val="1"/>
      </c:barChart>
      <c:catAx>
        <c:axId val="702441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024414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E382CA3-B560-47CD-BD48-FD4E0CDC82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6" name="ButtomBox">
            <a:extLst>
              <a:ext uri="{FF2B5EF4-FFF2-40B4-BE49-F238E27FC236}">
                <a16:creationId xmlns:a16="http://schemas.microsoft.com/office/drawing/2014/main" id="{20C3E9AD-F95D-4473-9224-8E95F8E16FDE}"/>
              </a:ext>
            </a:extLst>
          </p:cNvPr>
          <p:cNvSpPr/>
          <p:nvPr/>
        </p:nvSpPr>
        <p:spPr>
          <a:xfrm>
            <a:off x="1693" y="9263774"/>
            <a:ext cx="7313507" cy="33742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61B3A22-D2E3-4FF5-9BC6-8836E60A3E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690" y="9263774"/>
            <a:ext cx="1244426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pPr algn="ctr"/>
            <a:fld id="{8BBE9EC4-8F44-4CF0-8A4B-61B019A15D23}" type="datetime2">
              <a:rPr lang="da-DK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. juli 2026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16FE313-A64B-45DA-93DD-8853BE49D3A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5279" y="9263774"/>
            <a:ext cx="3169920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uktureretSundFornuft.dk | </a:t>
            </a:r>
            <a:fld id="{536E8740-708A-4D06-8D78-DA6656316D8B}" type="slidenum">
              <a:rPr lang="en-US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620031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601436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731520" y="3961233"/>
            <a:ext cx="5852160" cy="5128338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8" name="ButtomBox">
            <a:extLst>
              <a:ext uri="{FF2B5EF4-FFF2-40B4-BE49-F238E27FC236}">
                <a16:creationId xmlns:a16="http://schemas.microsoft.com/office/drawing/2014/main" id="{21F0A814-4AFB-440A-ADE7-8DA651D80146}"/>
              </a:ext>
            </a:extLst>
          </p:cNvPr>
          <p:cNvSpPr/>
          <p:nvPr/>
        </p:nvSpPr>
        <p:spPr>
          <a:xfrm>
            <a:off x="1693" y="9263774"/>
            <a:ext cx="7313507" cy="33742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pPr algn="ctr"/>
            <a:endParaRPr lang="en-US" dirty="0"/>
          </a:p>
        </p:txBody>
      </p:sp>
      <p:sp>
        <p:nvSpPr>
          <p:cNvPr id="9" name="Date Placeholder 7">
            <a:extLst>
              <a:ext uri="{FF2B5EF4-FFF2-40B4-BE49-F238E27FC236}">
                <a16:creationId xmlns:a16="http://schemas.microsoft.com/office/drawing/2014/main" id="{2013BECE-8686-4CF2-9CF7-BEDFA13EA131}"/>
              </a:ext>
            </a:extLst>
          </p:cNvPr>
          <p:cNvSpPr txBox="1">
            <a:spLocks/>
          </p:cNvSpPr>
          <p:nvPr/>
        </p:nvSpPr>
        <p:spPr>
          <a:xfrm>
            <a:off x="1690" y="9263774"/>
            <a:ext cx="1244426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defPPr>
              <a:defRPr lang="da-DK"/>
            </a:defPPr>
            <a:lvl1pPr marL="0" algn="r" defTabSz="914400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BBE9EC4-8F44-4CF0-8A4B-61B019A15D23}" type="datetime2">
              <a:rPr lang="da-DK" sz="80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/>
              <a:t>11. juli 2026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1B50959-0822-4B85-A9C9-0D67932E7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5279" y="9263774"/>
            <a:ext cx="3169920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uktureretSundFornuft.dk | </a:t>
            </a:r>
            <a:fld id="{536E8740-708A-4D06-8D78-DA6656316D8B}" type="slidenum">
              <a:rPr lang="en-US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25017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179388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358775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538163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719138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/>
          <a:lstStyle/>
          <a:p>
            <a:fld id="{7AF83CC3-55FA-48C5-A62B-7CCA4DCD15F3}" type="slidenum">
              <a:rPr lang="da-DK" smtClean="0"/>
              <a:t>1</a:t>
            </a:fld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A38A97-1FBF-4B12-9FE6-3C6F44F5D2F5}"/>
              </a:ext>
            </a:extLst>
          </p:cNvPr>
          <p:cNvSpPr>
            <a:spLocks noGrp="1"/>
          </p:cNvSpPr>
          <p:nvPr>
            <p:ph type="dt" idx="1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/>
          <a:lstStyle/>
          <a:p>
            <a:fld id="{4F45CBB0-A475-4DA6-A327-E9FE87BB0949}" type="datetime2">
              <a:rPr lang="da-DK" smtClean="0"/>
              <a:t>11. juli 202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4418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717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450474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65909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98298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599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7082534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7829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0182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6590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9829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295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599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98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708253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75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78294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450474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018220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4268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9" imgH="409" progId="TCLayout.ActiveDocument.1">
                  <p:embed/>
                </p:oleObj>
              </mc:Choice>
              <mc:Fallback>
                <p:oleObj name="think-cell Slide" r:id="rId10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03493806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68011103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52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5" r:id="rId2"/>
    <p:sldLayoutId id="2147483676" r:id="rId3"/>
    <p:sldLayoutId id="2147483677" r:id="rId4"/>
    <p:sldLayoutId id="2147483674" r:id="rId5"/>
    <p:sldLayoutId id="2147483678" r:id="rId6"/>
    <p:sldLayoutId id="2147483680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9" imgH="409" progId="TCLayout.ActiveDocument.1">
                  <p:embed/>
                </p:oleObj>
              </mc:Choice>
              <mc:Fallback>
                <p:oleObj name="think-cell Slide" r:id="rId10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52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chart" Target="../charts/chart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28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5.xml"/><Relationship Id="rId6" Type="http://schemas.openxmlformats.org/officeDocument/2006/relationships/image" Target="../media/image5.jpg"/><Relationship Id="rId5" Type="http://schemas.openxmlformats.org/officeDocument/2006/relationships/image" Target="../media/image4.jpg"/><Relationship Id="rId4" Type="http://schemas.openxmlformats.org/officeDocument/2006/relationships/image" Target="../media/image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6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2366485-B60E-424B-A5E8-D8D1745B033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498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9" imgH="409" progId="TCLayout.ActiveDocument.1">
                  <p:embed/>
                </p:oleObj>
              </mc:Choice>
              <mc:Fallback>
                <p:oleObj name="think-cell Slide" r:id="rId5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2366485-B60E-424B-A5E8-D8D1745B03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06C20D-D23D-48CD-AE8D-4D5CA9400C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dirty="0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0F8534B-CCA8-4A2C-9A0E-A0613E6956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Projektafslutning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469AD6-8E34-4AA2-8874-827559293A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rIns="91440"/>
          <a:lstStyle/>
          <a:p>
            <a:r>
              <a:rPr lang="en-US" dirty="0"/>
              <a:t>[ </a:t>
            </a:r>
            <a:r>
              <a:rPr lang="en-US" dirty="0" err="1"/>
              <a:t>Projektnavn</a:t>
            </a:r>
            <a:r>
              <a:rPr lang="en-US" dirty="0"/>
              <a:t> ]</a:t>
            </a:r>
          </a:p>
        </p:txBody>
      </p:sp>
    </p:spTree>
    <p:extLst>
      <p:ext uri="{BB962C8B-B14F-4D97-AF65-F5344CB8AC3E}">
        <p14:creationId xmlns:p14="http://schemas.microsoft.com/office/powerpoint/2010/main" val="5421530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371746F-2098-C8C8-1733-0586B4C10D6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553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71746F-2098-C8C8-1733-0586B4C10D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74F741-13C0-E7B4-EDB4-921B32F97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7. Væsentlig læring til fremtidige projek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99455A-6118-A04B-7913-829E708CC0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0</a:t>
            </a:fld>
            <a:endParaRPr lang="da-DK" dirty="0"/>
          </a:p>
        </p:txBody>
      </p:sp>
      <p:sp>
        <p:nvSpPr>
          <p:cNvPr id="5" name="Tekstboks 19">
            <a:extLst>
              <a:ext uri="{FF2B5EF4-FFF2-40B4-BE49-F238E27FC236}">
                <a16:creationId xmlns:a16="http://schemas.microsoft.com/office/drawing/2014/main" id="{C2BEEC27-C03E-0375-6088-D35DF408F239}"/>
              </a:ext>
            </a:extLst>
          </p:cNvPr>
          <p:cNvSpPr txBox="1"/>
          <p:nvPr/>
        </p:nvSpPr>
        <p:spPr>
          <a:xfrm>
            <a:off x="539987" y="5819985"/>
            <a:ext cx="61926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dirty="0"/>
              <a:t>Kilde: [ Angiv hvornår projektgruppen og styregruppen har evalueret processen som kilde ]</a:t>
            </a:r>
          </a:p>
        </p:txBody>
      </p:sp>
      <p:grpSp>
        <p:nvGrpSpPr>
          <p:cNvPr id="6" name="Gruppe 9">
            <a:extLst>
              <a:ext uri="{FF2B5EF4-FFF2-40B4-BE49-F238E27FC236}">
                <a16:creationId xmlns:a16="http://schemas.microsoft.com/office/drawing/2014/main" id="{511E568F-8195-85CA-5E3E-46456927911F}"/>
              </a:ext>
            </a:extLst>
          </p:cNvPr>
          <p:cNvGrpSpPr/>
          <p:nvPr/>
        </p:nvGrpSpPr>
        <p:grpSpPr>
          <a:xfrm>
            <a:off x="539987" y="1196752"/>
            <a:ext cx="3587117" cy="4464496"/>
            <a:chOff x="755576" y="1556792"/>
            <a:chExt cx="7704856" cy="4464496"/>
          </a:xfrm>
        </p:grpSpPr>
        <p:sp>
          <p:nvSpPr>
            <p:cNvPr id="7" name="Rektangel 10">
              <a:extLst>
                <a:ext uri="{FF2B5EF4-FFF2-40B4-BE49-F238E27FC236}">
                  <a16:creationId xmlns:a16="http://schemas.microsoft.com/office/drawing/2014/main" id="{ECD32E8A-7204-1EBE-57C2-4444535810EF}"/>
                </a:ext>
              </a:extLst>
            </p:cNvPr>
            <p:cNvSpPr/>
            <p:nvPr/>
          </p:nvSpPr>
          <p:spPr bwMode="auto">
            <a:xfrm>
              <a:off x="755576" y="1556792"/>
              <a:ext cx="7704856" cy="4464496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38100" dir="2700000" algn="ctr" rotWithShape="0">
                <a:srgbClr val="000000"/>
              </a:outerShdw>
            </a:effectLst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/>
            </a:p>
          </p:txBody>
        </p:sp>
        <p:cxnSp>
          <p:nvCxnSpPr>
            <p:cNvPr id="8" name="Lige forbindelse 11">
              <a:extLst>
                <a:ext uri="{FF2B5EF4-FFF2-40B4-BE49-F238E27FC236}">
                  <a16:creationId xmlns:a16="http://schemas.microsoft.com/office/drawing/2014/main" id="{06C9A200-7FF6-FA7B-7CF4-A639063A8CA2}"/>
                </a:ext>
              </a:extLst>
            </p:cNvPr>
            <p:cNvCxnSpPr/>
            <p:nvPr/>
          </p:nvCxnSpPr>
          <p:spPr bwMode="auto">
            <a:xfrm>
              <a:off x="899592" y="2132856"/>
              <a:ext cx="7344816" cy="0"/>
            </a:xfrm>
            <a:prstGeom prst="line">
              <a:avLst/>
            </a:prstGeom>
            <a:solidFill>
              <a:schemeClr val="accent2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Rektangel 12">
              <a:extLst>
                <a:ext uri="{FF2B5EF4-FFF2-40B4-BE49-F238E27FC236}">
                  <a16:creationId xmlns:a16="http://schemas.microsoft.com/office/drawing/2014/main" id="{ADA88357-BD9C-E2F9-CBE1-7D84FD133CCC}"/>
                </a:ext>
              </a:extLst>
            </p:cNvPr>
            <p:cNvSpPr/>
            <p:nvPr/>
          </p:nvSpPr>
          <p:spPr bwMode="auto">
            <a:xfrm>
              <a:off x="899592" y="1556792"/>
              <a:ext cx="7344816" cy="576064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b" anchorCtr="0" compatLnSpc="1">
              <a:prstTxWarp prst="textNoShape">
                <a:avLst/>
              </a:prstTxWarp>
            </a:bodyPr>
            <a:lstStyle/>
            <a:p>
              <a:r>
                <a:rPr lang="da-DK" sz="1600" dirty="0"/>
                <a:t>Det gik rigtig godt med at:</a:t>
              </a:r>
            </a:p>
          </p:txBody>
        </p:sp>
        <p:sp>
          <p:nvSpPr>
            <p:cNvPr id="10" name="Rektangel 13">
              <a:extLst>
                <a:ext uri="{FF2B5EF4-FFF2-40B4-BE49-F238E27FC236}">
                  <a16:creationId xmlns:a16="http://schemas.microsoft.com/office/drawing/2014/main" id="{2F890396-1931-51AC-308B-2870D37A9233}"/>
                </a:ext>
              </a:extLst>
            </p:cNvPr>
            <p:cNvSpPr/>
            <p:nvPr/>
          </p:nvSpPr>
          <p:spPr bwMode="auto">
            <a:xfrm>
              <a:off x="899592" y="2276872"/>
              <a:ext cx="7344816" cy="3590528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pPr marL="182563" indent="-182563">
                <a:buFont typeface="Arial" pitchFamily="34" charset="0"/>
                <a:buChar char="•"/>
              </a:pPr>
              <a:r>
                <a:rPr lang="da-DK" sz="1400" dirty="0"/>
                <a:t>[ Angiv væsentlig læring]</a:t>
              </a:r>
            </a:p>
            <a:p>
              <a:pPr marL="182563" indent="-182563">
                <a:buFont typeface="Arial" pitchFamily="34" charset="0"/>
                <a:buChar char="•"/>
              </a:pPr>
              <a:r>
                <a:rPr lang="da-DK" sz="1400" dirty="0"/>
                <a:t>[ Angiv væsentlig læring]</a:t>
              </a:r>
            </a:p>
          </p:txBody>
        </p:sp>
      </p:grpSp>
      <p:grpSp>
        <p:nvGrpSpPr>
          <p:cNvPr id="11" name="Gruppe 14">
            <a:extLst>
              <a:ext uri="{FF2B5EF4-FFF2-40B4-BE49-F238E27FC236}">
                <a16:creationId xmlns:a16="http://schemas.microsoft.com/office/drawing/2014/main" id="{C18D4CAE-3004-EFB3-8885-E1249C67156E}"/>
              </a:ext>
            </a:extLst>
          </p:cNvPr>
          <p:cNvGrpSpPr/>
          <p:nvPr/>
        </p:nvGrpSpPr>
        <p:grpSpPr>
          <a:xfrm>
            <a:off x="4302441" y="1196752"/>
            <a:ext cx="3587117" cy="4464496"/>
            <a:chOff x="755576" y="1556792"/>
            <a:chExt cx="7704856" cy="4464496"/>
          </a:xfrm>
        </p:grpSpPr>
        <p:sp>
          <p:nvSpPr>
            <p:cNvPr id="12" name="Rektangel 15">
              <a:extLst>
                <a:ext uri="{FF2B5EF4-FFF2-40B4-BE49-F238E27FC236}">
                  <a16:creationId xmlns:a16="http://schemas.microsoft.com/office/drawing/2014/main" id="{0AD9D17A-717F-2C2E-4742-BB03B2180A07}"/>
                </a:ext>
              </a:extLst>
            </p:cNvPr>
            <p:cNvSpPr/>
            <p:nvPr/>
          </p:nvSpPr>
          <p:spPr bwMode="auto">
            <a:xfrm>
              <a:off x="755576" y="1556792"/>
              <a:ext cx="7704856" cy="4464496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38100" dir="2700000" algn="ctr" rotWithShape="0">
                <a:srgbClr val="000000"/>
              </a:outerShdw>
            </a:effectLst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/>
            </a:p>
          </p:txBody>
        </p:sp>
        <p:cxnSp>
          <p:nvCxnSpPr>
            <p:cNvPr id="13" name="Lige forbindelse 16">
              <a:extLst>
                <a:ext uri="{FF2B5EF4-FFF2-40B4-BE49-F238E27FC236}">
                  <a16:creationId xmlns:a16="http://schemas.microsoft.com/office/drawing/2014/main" id="{248A8BFC-AC3D-CF18-AE51-6A9A8BF3C9DF}"/>
                </a:ext>
              </a:extLst>
            </p:cNvPr>
            <p:cNvCxnSpPr/>
            <p:nvPr/>
          </p:nvCxnSpPr>
          <p:spPr bwMode="auto">
            <a:xfrm>
              <a:off x="899592" y="2132856"/>
              <a:ext cx="7344816" cy="0"/>
            </a:xfrm>
            <a:prstGeom prst="line">
              <a:avLst/>
            </a:prstGeom>
            <a:solidFill>
              <a:schemeClr val="accent2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" name="Rektangel 17">
              <a:extLst>
                <a:ext uri="{FF2B5EF4-FFF2-40B4-BE49-F238E27FC236}">
                  <a16:creationId xmlns:a16="http://schemas.microsoft.com/office/drawing/2014/main" id="{37C8D2A7-1AD4-24A6-1EFF-20DA51F4B73C}"/>
                </a:ext>
              </a:extLst>
            </p:cNvPr>
            <p:cNvSpPr/>
            <p:nvPr/>
          </p:nvSpPr>
          <p:spPr bwMode="auto">
            <a:xfrm>
              <a:off x="899592" y="1556792"/>
              <a:ext cx="7344816" cy="576064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b" anchorCtr="0" compatLnSpc="1">
              <a:prstTxWarp prst="textNoShape">
                <a:avLst/>
              </a:prstTxWarp>
            </a:bodyPr>
            <a:lstStyle/>
            <a:p>
              <a:r>
                <a:rPr lang="da-DK" sz="1600" dirty="0"/>
                <a:t>Mulige forbedringer i fremtiden:</a:t>
              </a:r>
            </a:p>
          </p:txBody>
        </p:sp>
        <p:sp>
          <p:nvSpPr>
            <p:cNvPr id="15" name="Rektangel 18">
              <a:extLst>
                <a:ext uri="{FF2B5EF4-FFF2-40B4-BE49-F238E27FC236}">
                  <a16:creationId xmlns:a16="http://schemas.microsoft.com/office/drawing/2014/main" id="{5AA06E34-020B-A318-5CAC-A95FC52D5321}"/>
                </a:ext>
              </a:extLst>
            </p:cNvPr>
            <p:cNvSpPr/>
            <p:nvPr/>
          </p:nvSpPr>
          <p:spPr bwMode="auto">
            <a:xfrm>
              <a:off x="899592" y="2276872"/>
              <a:ext cx="7344816" cy="3590528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pPr marL="182563" indent="-182563">
                <a:buFont typeface="Arial" pitchFamily="34" charset="0"/>
                <a:buChar char="•"/>
              </a:pPr>
              <a:r>
                <a:rPr lang="da-DK" sz="1400" dirty="0"/>
                <a:t>[ Angiv væsentlig læring]</a:t>
              </a:r>
            </a:p>
            <a:p>
              <a:pPr marL="182563" indent="-182563">
                <a:buFont typeface="Arial" pitchFamily="34" charset="0"/>
                <a:buChar char="•"/>
              </a:pPr>
              <a:r>
                <a:rPr lang="da-DK" sz="1400" dirty="0"/>
                <a:t>[ Angiv væsentlig læring]</a:t>
              </a:r>
            </a:p>
          </p:txBody>
        </p:sp>
      </p:grpSp>
      <p:grpSp>
        <p:nvGrpSpPr>
          <p:cNvPr id="16" name="Gruppe 14">
            <a:extLst>
              <a:ext uri="{FF2B5EF4-FFF2-40B4-BE49-F238E27FC236}">
                <a16:creationId xmlns:a16="http://schemas.microsoft.com/office/drawing/2014/main" id="{24502AB2-3B5D-EF8F-EFA5-7D4E68F61C66}"/>
              </a:ext>
            </a:extLst>
          </p:cNvPr>
          <p:cNvGrpSpPr/>
          <p:nvPr/>
        </p:nvGrpSpPr>
        <p:grpSpPr>
          <a:xfrm>
            <a:off x="8059374" y="1196752"/>
            <a:ext cx="3587117" cy="4464496"/>
            <a:chOff x="755576" y="1556792"/>
            <a:chExt cx="7704856" cy="4464496"/>
          </a:xfrm>
        </p:grpSpPr>
        <p:sp>
          <p:nvSpPr>
            <p:cNvPr id="17" name="Rektangel 15">
              <a:extLst>
                <a:ext uri="{FF2B5EF4-FFF2-40B4-BE49-F238E27FC236}">
                  <a16:creationId xmlns:a16="http://schemas.microsoft.com/office/drawing/2014/main" id="{B28D49CB-0A42-3714-A5D6-7EDEC8743DF2}"/>
                </a:ext>
              </a:extLst>
            </p:cNvPr>
            <p:cNvSpPr/>
            <p:nvPr/>
          </p:nvSpPr>
          <p:spPr bwMode="auto">
            <a:xfrm>
              <a:off x="755576" y="1556792"/>
              <a:ext cx="7704856" cy="4464496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38100" dir="2700000" algn="ctr" rotWithShape="0">
                <a:srgbClr val="000000"/>
              </a:outerShdw>
            </a:effectLst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/>
            </a:p>
          </p:txBody>
        </p:sp>
        <p:cxnSp>
          <p:nvCxnSpPr>
            <p:cNvPr id="18" name="Lige forbindelse 16">
              <a:extLst>
                <a:ext uri="{FF2B5EF4-FFF2-40B4-BE49-F238E27FC236}">
                  <a16:creationId xmlns:a16="http://schemas.microsoft.com/office/drawing/2014/main" id="{63794F65-7C36-9F53-6229-A4D1DA58FCC8}"/>
                </a:ext>
              </a:extLst>
            </p:cNvPr>
            <p:cNvCxnSpPr/>
            <p:nvPr/>
          </p:nvCxnSpPr>
          <p:spPr bwMode="auto">
            <a:xfrm>
              <a:off x="899592" y="2132856"/>
              <a:ext cx="7344816" cy="0"/>
            </a:xfrm>
            <a:prstGeom prst="line">
              <a:avLst/>
            </a:prstGeom>
            <a:solidFill>
              <a:schemeClr val="accent2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" name="Rektangel 17">
              <a:extLst>
                <a:ext uri="{FF2B5EF4-FFF2-40B4-BE49-F238E27FC236}">
                  <a16:creationId xmlns:a16="http://schemas.microsoft.com/office/drawing/2014/main" id="{4315E75E-B311-D287-8518-3F0075EB91EC}"/>
                </a:ext>
              </a:extLst>
            </p:cNvPr>
            <p:cNvSpPr/>
            <p:nvPr/>
          </p:nvSpPr>
          <p:spPr bwMode="auto">
            <a:xfrm>
              <a:off x="899592" y="1556792"/>
              <a:ext cx="7344816" cy="576064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b" anchorCtr="0" compatLnSpc="1">
              <a:prstTxWarp prst="textNoShape">
                <a:avLst/>
              </a:prstTxWarp>
            </a:bodyPr>
            <a:lstStyle/>
            <a:p>
              <a:r>
                <a:rPr lang="da-DK" sz="1600" dirty="0"/>
                <a:t>Øvrige bemærkninger</a:t>
              </a:r>
            </a:p>
          </p:txBody>
        </p:sp>
        <p:sp>
          <p:nvSpPr>
            <p:cNvPr id="20" name="Rektangel 18">
              <a:extLst>
                <a:ext uri="{FF2B5EF4-FFF2-40B4-BE49-F238E27FC236}">
                  <a16:creationId xmlns:a16="http://schemas.microsoft.com/office/drawing/2014/main" id="{3F80EDA9-E618-8C13-E70D-4086373EBE37}"/>
                </a:ext>
              </a:extLst>
            </p:cNvPr>
            <p:cNvSpPr/>
            <p:nvPr/>
          </p:nvSpPr>
          <p:spPr bwMode="auto">
            <a:xfrm>
              <a:off x="899592" y="2276872"/>
              <a:ext cx="7344816" cy="3590528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pPr marL="182563" indent="-182563">
                <a:buFont typeface="Arial" pitchFamily="34" charset="0"/>
                <a:buChar char="•"/>
              </a:pPr>
              <a:r>
                <a:rPr lang="da-DK" sz="1400" dirty="0"/>
                <a:t>[ Angiv væsentlig læring]</a:t>
              </a:r>
            </a:p>
            <a:p>
              <a:pPr marL="182563" indent="-182563">
                <a:buFont typeface="Arial" pitchFamily="34" charset="0"/>
                <a:buChar char="•"/>
              </a:pPr>
              <a:r>
                <a:rPr lang="da-DK" sz="1400" dirty="0"/>
                <a:t>[ Angiv væsentlig læring]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62078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1903DD8-7B0F-EEC1-E491-A0FB336789B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7447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903DD8-7B0F-EEC1-E491-A0FB33678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6E59CC5-0E40-3CCF-6152-681E14948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Projektafslutning - Bila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1C2FA2-BC40-4B78-B474-611A4C0AF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[ projektnavn 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FE0AD7-AA40-EFB6-8081-82AEFDD167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979514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C2589C26-A54E-4C24-3753-D41C897A393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331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89C26-A54E-4C24-3753-D41C897A3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7DEA41-D0FA-9209-956D-C767A8331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Formål for [ Projektnavn 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452B84A-269E-1FDB-7648-AB1EFAA5EB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2</a:t>
            </a:fld>
            <a:endParaRPr lang="da-DK" dirty="0"/>
          </a:p>
        </p:txBody>
      </p:sp>
      <p:sp>
        <p:nvSpPr>
          <p:cNvPr id="4" name="Rectangle 18">
            <a:extLst>
              <a:ext uri="{FF2B5EF4-FFF2-40B4-BE49-F238E27FC236}">
                <a16:creationId xmlns:a16="http://schemas.microsoft.com/office/drawing/2014/main" id="{EC8ED3DB-9420-C034-F518-7D00E21896E6}"/>
              </a:ext>
            </a:extLst>
          </p:cNvPr>
          <p:cNvSpPr/>
          <p:nvPr/>
        </p:nvSpPr>
        <p:spPr bwMode="auto">
          <a:xfrm>
            <a:off x="3488055" y="2149009"/>
            <a:ext cx="6960394" cy="8763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US" sz="1100" dirty="0">
              <a:solidFill>
                <a:srgbClr val="FFFFFF"/>
              </a:solidFill>
              <a:latin typeface="[ virksomhed ]"/>
            </a:endParaRPr>
          </a:p>
        </p:txBody>
      </p:sp>
      <p:sp>
        <p:nvSpPr>
          <p:cNvPr id="5" name="Pentagon 7">
            <a:extLst>
              <a:ext uri="{FF2B5EF4-FFF2-40B4-BE49-F238E27FC236}">
                <a16:creationId xmlns:a16="http://schemas.microsoft.com/office/drawing/2014/main" id="{BDAC000D-F280-BCEB-074F-ECBE1C8BD70C}"/>
              </a:ext>
            </a:extLst>
          </p:cNvPr>
          <p:cNvSpPr/>
          <p:nvPr/>
        </p:nvSpPr>
        <p:spPr bwMode="auto">
          <a:xfrm>
            <a:off x="1395042" y="2123609"/>
            <a:ext cx="2057769" cy="876300"/>
          </a:xfrm>
          <a:prstGeom prst="homePlate">
            <a:avLst>
              <a:gd name="adj" fmla="val 15467"/>
            </a:avLst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da-DK" sz="120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6" name="Rectangle 24">
            <a:extLst>
              <a:ext uri="{FF2B5EF4-FFF2-40B4-BE49-F238E27FC236}">
                <a16:creationId xmlns:a16="http://schemas.microsoft.com/office/drawing/2014/main" id="{164D1AE1-2355-A385-AF3F-DC74C4D6C7B1}"/>
              </a:ext>
            </a:extLst>
          </p:cNvPr>
          <p:cNvSpPr/>
          <p:nvPr/>
        </p:nvSpPr>
        <p:spPr bwMode="auto">
          <a:xfrm>
            <a:off x="3488055" y="3141196"/>
            <a:ext cx="6960394" cy="112712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US" sz="1100" dirty="0">
              <a:solidFill>
                <a:srgbClr val="FFFFFF"/>
              </a:solidFill>
              <a:latin typeface="[ virksomhed ]"/>
            </a:endParaRPr>
          </a:p>
        </p:txBody>
      </p:sp>
      <p:sp>
        <p:nvSpPr>
          <p:cNvPr id="7" name="Pentagon 9">
            <a:extLst>
              <a:ext uri="{FF2B5EF4-FFF2-40B4-BE49-F238E27FC236}">
                <a16:creationId xmlns:a16="http://schemas.microsoft.com/office/drawing/2014/main" id="{CE2B2EA0-AF32-F64F-E507-1E3952E7EABC}"/>
              </a:ext>
            </a:extLst>
          </p:cNvPr>
          <p:cNvSpPr/>
          <p:nvPr/>
        </p:nvSpPr>
        <p:spPr bwMode="auto">
          <a:xfrm>
            <a:off x="1395042" y="3171359"/>
            <a:ext cx="2057769" cy="1127125"/>
          </a:xfrm>
          <a:prstGeom prst="homePlate">
            <a:avLst>
              <a:gd name="adj" fmla="val 15467"/>
            </a:avLst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da-DK" sz="120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8" name="Rectangle 28">
            <a:extLst>
              <a:ext uri="{FF2B5EF4-FFF2-40B4-BE49-F238E27FC236}">
                <a16:creationId xmlns:a16="http://schemas.microsoft.com/office/drawing/2014/main" id="{9CDDEF4F-7F08-E733-46A3-0B401F6B16EB}"/>
              </a:ext>
            </a:extLst>
          </p:cNvPr>
          <p:cNvSpPr/>
          <p:nvPr/>
        </p:nvSpPr>
        <p:spPr bwMode="auto">
          <a:xfrm>
            <a:off x="3488055" y="4450884"/>
            <a:ext cx="6960394" cy="116522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US" sz="1100" dirty="0">
              <a:solidFill>
                <a:srgbClr val="FFFFFF"/>
              </a:solidFill>
              <a:latin typeface="[ virksomhed ]"/>
            </a:endParaRPr>
          </a:p>
        </p:txBody>
      </p:sp>
      <p:sp>
        <p:nvSpPr>
          <p:cNvPr id="9" name="Pentagon 11">
            <a:extLst>
              <a:ext uri="{FF2B5EF4-FFF2-40B4-BE49-F238E27FC236}">
                <a16:creationId xmlns:a16="http://schemas.microsoft.com/office/drawing/2014/main" id="{BFC1D1DD-FB87-BFCF-1EB6-3D2C3F8BD7B9}"/>
              </a:ext>
            </a:extLst>
          </p:cNvPr>
          <p:cNvSpPr/>
          <p:nvPr/>
        </p:nvSpPr>
        <p:spPr bwMode="auto">
          <a:xfrm>
            <a:off x="1395042" y="4460409"/>
            <a:ext cx="2057769" cy="1166812"/>
          </a:xfrm>
          <a:prstGeom prst="homePlate">
            <a:avLst>
              <a:gd name="adj" fmla="val 15467"/>
            </a:avLst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da-DK" sz="120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10" name="Tekstboks 12">
            <a:extLst>
              <a:ext uri="{FF2B5EF4-FFF2-40B4-BE49-F238E27FC236}">
                <a16:creationId xmlns:a16="http://schemas.microsoft.com/office/drawing/2014/main" id="{9C38B6F1-708A-F00E-9E83-E6A0F9E5D8AD}"/>
              </a:ext>
            </a:extLst>
          </p:cNvPr>
          <p:cNvSpPr txBox="1"/>
          <p:nvPr/>
        </p:nvSpPr>
        <p:spPr>
          <a:xfrm>
            <a:off x="3544835" y="2161709"/>
            <a:ext cx="6919277" cy="646331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176213" indent="-176213" defTabSz="652463">
              <a:buFont typeface="Wingdings" pitchFamily="2" charset="2"/>
              <a:buChar char="§"/>
              <a:defRPr/>
            </a:pPr>
            <a:r>
              <a:rPr lang="da-DK" sz="1200" dirty="0">
                <a:solidFill>
                  <a:srgbClr val="000000"/>
                </a:solidFill>
              </a:rPr>
              <a:t>[ Angiv formålet for projektet. Gerne i form af nyttemålet for klart at tydeliggøre den hypotese som Sponsoren har. Formuler det dog IKKE som en hypotese men som tekst eventuelt med tal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" name="Tekstboks 15">
            <a:extLst>
              <a:ext uri="{FF2B5EF4-FFF2-40B4-BE49-F238E27FC236}">
                <a16:creationId xmlns:a16="http://schemas.microsoft.com/office/drawing/2014/main" id="{7AFA8286-8460-8A2B-8320-26353F03B09A}"/>
              </a:ext>
            </a:extLst>
          </p:cNvPr>
          <p:cNvSpPr txBox="1"/>
          <p:nvPr/>
        </p:nvSpPr>
        <p:spPr>
          <a:xfrm>
            <a:off x="1506643" y="2195046"/>
            <a:ext cx="192854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chemeClr val="bg1"/>
                </a:solidFill>
                <a:latin typeface="Verdana"/>
              </a:rPr>
              <a:t>Formål:</a:t>
            </a:r>
          </a:p>
        </p:txBody>
      </p:sp>
      <p:sp>
        <p:nvSpPr>
          <p:cNvPr id="12" name="Tekstboks 19">
            <a:extLst>
              <a:ext uri="{FF2B5EF4-FFF2-40B4-BE49-F238E27FC236}">
                <a16:creationId xmlns:a16="http://schemas.microsoft.com/office/drawing/2014/main" id="{D952A074-9681-D825-739B-BB784BC99363}"/>
              </a:ext>
            </a:extLst>
          </p:cNvPr>
          <p:cNvSpPr txBox="1"/>
          <p:nvPr/>
        </p:nvSpPr>
        <p:spPr>
          <a:xfrm>
            <a:off x="3544835" y="3147546"/>
            <a:ext cx="6985846" cy="646331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90488" indent="-90488" defTabSz="652463">
              <a:buFont typeface="Arial" pitchFamily="34" charset="0"/>
              <a:buChar char="•"/>
              <a:defRPr/>
            </a:pPr>
            <a:r>
              <a:rPr lang="da-DK" sz="1200" dirty="0">
                <a:solidFill>
                  <a:srgbClr val="000000"/>
                </a:solidFill>
              </a:rPr>
              <a:t>[ Beskriv de konkrete målsætninger for projektet. Hvis det ikke kan kvantificeres, så beskriv hvad der er anderledes når projektet er færdigt ]</a:t>
            </a:r>
          </a:p>
        </p:txBody>
      </p:sp>
      <p:sp>
        <p:nvSpPr>
          <p:cNvPr id="13" name="Tekstboks 15">
            <a:extLst>
              <a:ext uri="{FF2B5EF4-FFF2-40B4-BE49-F238E27FC236}">
                <a16:creationId xmlns:a16="http://schemas.microsoft.com/office/drawing/2014/main" id="{E2DA2A4E-18B2-0E69-413F-61390A488B03}"/>
              </a:ext>
            </a:extLst>
          </p:cNvPr>
          <p:cNvSpPr txBox="1"/>
          <p:nvPr/>
        </p:nvSpPr>
        <p:spPr>
          <a:xfrm>
            <a:off x="1506643" y="3242796"/>
            <a:ext cx="1932464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da-DK" sz="1200" b="1" dirty="0">
                <a:solidFill>
                  <a:schemeClr val="bg1"/>
                </a:solidFill>
                <a:latin typeface="Verdana"/>
              </a:rPr>
              <a:t>Succeskriterier:</a:t>
            </a:r>
          </a:p>
        </p:txBody>
      </p:sp>
      <p:sp>
        <p:nvSpPr>
          <p:cNvPr id="14" name="Tekstboks 19">
            <a:extLst>
              <a:ext uri="{FF2B5EF4-FFF2-40B4-BE49-F238E27FC236}">
                <a16:creationId xmlns:a16="http://schemas.microsoft.com/office/drawing/2014/main" id="{B6FC2705-5B0D-8427-42AF-876112C312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0498" y="4511209"/>
            <a:ext cx="688011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90488" indent="-90488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Font typeface="Arial" pitchFamily="34" charset="0"/>
              <a:buChar char="•"/>
              <a:defRPr/>
            </a:pPr>
            <a:r>
              <a:rPr lang="da-DK" sz="1200" dirty="0">
                <a:solidFill>
                  <a:srgbClr val="000000"/>
                </a:solidFill>
                <a:latin typeface="Verdana" pitchFamily="34" charset="0"/>
              </a:rPr>
              <a:t>[ Beskriv kort hvilke løftestænger projektet vil bruge til at indfri målsætningen og formålet. Det kan være de enkelte projektspor, kritiske milepæle eller noget helt tredje ]</a:t>
            </a:r>
          </a:p>
        </p:txBody>
      </p:sp>
      <p:sp>
        <p:nvSpPr>
          <p:cNvPr id="15" name="Tekstboks 15">
            <a:extLst>
              <a:ext uri="{FF2B5EF4-FFF2-40B4-BE49-F238E27FC236}">
                <a16:creationId xmlns:a16="http://schemas.microsoft.com/office/drawing/2014/main" id="{764B9D76-DEF8-82DE-EA5B-641698C982C2}"/>
              </a:ext>
            </a:extLst>
          </p:cNvPr>
          <p:cNvSpPr txBox="1"/>
          <p:nvPr/>
        </p:nvSpPr>
        <p:spPr>
          <a:xfrm>
            <a:off x="1506643" y="4547101"/>
            <a:ext cx="1899179" cy="27781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chemeClr val="bg1"/>
                </a:solidFill>
                <a:latin typeface="Verdana"/>
              </a:rPr>
              <a:t>Beskrivelse:</a:t>
            </a:r>
          </a:p>
        </p:txBody>
      </p:sp>
      <p:sp>
        <p:nvSpPr>
          <p:cNvPr id="16" name="Rounded Rectangle 57">
            <a:extLst>
              <a:ext uri="{FF2B5EF4-FFF2-40B4-BE49-F238E27FC236}">
                <a16:creationId xmlns:a16="http://schemas.microsoft.com/office/drawing/2014/main" id="{2BD2604D-B846-F86E-04B7-F85E4D45C368}"/>
              </a:ext>
            </a:extLst>
          </p:cNvPr>
          <p:cNvSpPr/>
          <p:nvPr/>
        </p:nvSpPr>
        <p:spPr bwMode="auto">
          <a:xfrm>
            <a:off x="1395042" y="1412776"/>
            <a:ext cx="9118017" cy="605979"/>
          </a:xfrm>
          <a:prstGeom prst="roundRect">
            <a:avLst>
              <a:gd name="adj" fmla="val 7658"/>
            </a:avLst>
          </a:prstGeom>
          <a:solidFill>
            <a:srgbClr val="0070C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endParaRPr lang="da-DK" sz="12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B1992D2E-B202-52D6-90BE-90CCE57CC5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8133" y="1404412"/>
            <a:ext cx="452930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rgbClr val="FFFFFF"/>
                </a:solidFill>
                <a:latin typeface="Verdana"/>
              </a:rPr>
              <a:t>Styregruppe:</a:t>
            </a:r>
          </a:p>
          <a:p>
            <a:pPr>
              <a:defRPr/>
            </a:pPr>
            <a:r>
              <a:rPr lang="da-DK" sz="1000" dirty="0">
                <a:solidFill>
                  <a:srgbClr val="FFFFFF"/>
                </a:solidFill>
                <a:latin typeface="Verdana"/>
              </a:rPr>
              <a:t>[ Indsæt TOP3 navne  adskilt af ,]</a:t>
            </a:r>
          </a:p>
        </p:txBody>
      </p:sp>
      <p:sp>
        <p:nvSpPr>
          <p:cNvPr id="18" name="Rectangle 60">
            <a:extLst>
              <a:ext uri="{FF2B5EF4-FFF2-40B4-BE49-F238E27FC236}">
                <a16:creationId xmlns:a16="http://schemas.microsoft.com/office/drawing/2014/main" id="{9A02EC19-96A8-4F27-5C17-4873D6F14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4077" y="1413937"/>
            <a:ext cx="212660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rgbClr val="FFFFFF"/>
                </a:solidFill>
                <a:latin typeface="Verdana"/>
              </a:rPr>
              <a:t>Projektleder:</a:t>
            </a:r>
          </a:p>
          <a:p>
            <a:pPr>
              <a:defRPr/>
            </a:pPr>
            <a:r>
              <a:rPr lang="da-DK" sz="1000" dirty="0">
                <a:solidFill>
                  <a:srgbClr val="FFFFFF"/>
                </a:solidFill>
                <a:latin typeface="Verdana"/>
              </a:rPr>
              <a:t>[ Indsæt navn ]</a:t>
            </a:r>
          </a:p>
        </p:txBody>
      </p:sp>
      <p:sp>
        <p:nvSpPr>
          <p:cNvPr id="19" name="Rectangle 61">
            <a:extLst>
              <a:ext uri="{FF2B5EF4-FFF2-40B4-BE49-F238E27FC236}">
                <a16:creationId xmlns:a16="http://schemas.microsoft.com/office/drawing/2014/main" id="{90B97990-F803-1801-7D14-16B232C162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0793" y="1404412"/>
            <a:ext cx="220853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rgbClr val="FFFFFF"/>
                </a:solidFill>
                <a:latin typeface="Verdana"/>
              </a:rPr>
              <a:t>Sponsor</a:t>
            </a:r>
            <a:r>
              <a:rPr lang="da-DK" sz="1200" dirty="0">
                <a:solidFill>
                  <a:srgbClr val="FFFFFF"/>
                </a:solidFill>
                <a:latin typeface="Verdana"/>
              </a:rPr>
              <a:t>:</a:t>
            </a:r>
          </a:p>
          <a:p>
            <a:pPr>
              <a:defRPr/>
            </a:pPr>
            <a:r>
              <a:rPr lang="da-DK" sz="1000" dirty="0">
                <a:solidFill>
                  <a:srgbClr val="FFFFFF"/>
                </a:solidFill>
                <a:latin typeface="Verdana"/>
              </a:rPr>
              <a:t>[ indsæt navn ]</a:t>
            </a:r>
          </a:p>
        </p:txBody>
      </p:sp>
      <p:sp>
        <p:nvSpPr>
          <p:cNvPr id="20" name="Rectangle 28">
            <a:extLst>
              <a:ext uri="{FF2B5EF4-FFF2-40B4-BE49-F238E27FC236}">
                <a16:creationId xmlns:a16="http://schemas.microsoft.com/office/drawing/2014/main" id="{16B1B8C7-7528-9224-D415-6EB2E9113EA4}"/>
              </a:ext>
            </a:extLst>
          </p:cNvPr>
          <p:cNvSpPr/>
          <p:nvPr/>
        </p:nvSpPr>
        <p:spPr bwMode="auto">
          <a:xfrm>
            <a:off x="3488055" y="5747028"/>
            <a:ext cx="6960394" cy="490911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US" sz="1100" dirty="0">
              <a:solidFill>
                <a:srgbClr val="FFFFFF"/>
              </a:solidFill>
              <a:latin typeface="[ virksomhed ]"/>
            </a:endParaRPr>
          </a:p>
        </p:txBody>
      </p:sp>
      <p:sp>
        <p:nvSpPr>
          <p:cNvPr id="21" name="Pentagon 26">
            <a:extLst>
              <a:ext uri="{FF2B5EF4-FFF2-40B4-BE49-F238E27FC236}">
                <a16:creationId xmlns:a16="http://schemas.microsoft.com/office/drawing/2014/main" id="{B044937E-13C8-3160-BD16-2611F9F0B842}"/>
              </a:ext>
            </a:extLst>
          </p:cNvPr>
          <p:cNvSpPr/>
          <p:nvPr/>
        </p:nvSpPr>
        <p:spPr bwMode="auto">
          <a:xfrm>
            <a:off x="1395042" y="5756552"/>
            <a:ext cx="2057769" cy="480759"/>
          </a:xfrm>
          <a:prstGeom prst="homePlate">
            <a:avLst>
              <a:gd name="adj" fmla="val 15467"/>
            </a:avLst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da-DK" sz="120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22" name="Tekstboks 19">
            <a:extLst>
              <a:ext uri="{FF2B5EF4-FFF2-40B4-BE49-F238E27FC236}">
                <a16:creationId xmlns:a16="http://schemas.microsoft.com/office/drawing/2014/main" id="{CEB9DDF1-1178-B300-931D-C74F2914A6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0498" y="5807353"/>
            <a:ext cx="688011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90488" indent="-90488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52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Font typeface="Arial" pitchFamily="34" charset="0"/>
              <a:buChar char="•"/>
              <a:defRPr/>
            </a:pPr>
            <a:r>
              <a:rPr lang="da-DK" sz="1200" dirty="0">
                <a:solidFill>
                  <a:srgbClr val="000000"/>
                </a:solidFill>
                <a:latin typeface="Verdana" pitchFamily="34" charset="0"/>
              </a:rPr>
              <a:t>[ Angiv hvornår projektet forventes afsluttet med indfrielse af målene ]</a:t>
            </a:r>
          </a:p>
        </p:txBody>
      </p:sp>
      <p:sp>
        <p:nvSpPr>
          <p:cNvPr id="23" name="Tekstboks 15">
            <a:extLst>
              <a:ext uri="{FF2B5EF4-FFF2-40B4-BE49-F238E27FC236}">
                <a16:creationId xmlns:a16="http://schemas.microsoft.com/office/drawing/2014/main" id="{B5C20073-BB60-8789-79AC-3A1774C67FFB}"/>
              </a:ext>
            </a:extLst>
          </p:cNvPr>
          <p:cNvSpPr txBox="1"/>
          <p:nvPr/>
        </p:nvSpPr>
        <p:spPr>
          <a:xfrm>
            <a:off x="1506643" y="5771237"/>
            <a:ext cx="1899179" cy="27781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schemeClr val="bg1"/>
                </a:solidFill>
                <a:latin typeface="Verdana"/>
              </a:rPr>
              <a:t>Forventet slut:</a:t>
            </a:r>
          </a:p>
        </p:txBody>
      </p:sp>
    </p:spTree>
    <p:extLst>
      <p:ext uri="{BB962C8B-B14F-4D97-AF65-F5344CB8AC3E}">
        <p14:creationId xmlns:p14="http://schemas.microsoft.com/office/powerpoint/2010/main" val="30267545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C9FBE32-F843-4B42-9027-ACD9FF9B2A8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6170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3" progId="TCLayout.ActiveDocument.1">
                  <p:embed/>
                </p:oleObj>
              </mc:Choice>
              <mc:Fallback>
                <p:oleObj name="think-cell Slide" r:id="rId11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FBE32-F843-4B42-9027-ACD9FF9B2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1E9A235-C008-3422-F9B8-43884D3881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Business Case Ligh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0A59C2-0AD9-A81D-DA47-0173FDD37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3</a:t>
            </a:fld>
            <a:endParaRPr lang="da-DK" dirty="0"/>
          </a:p>
        </p:txBody>
      </p:sp>
      <p:grpSp>
        <p:nvGrpSpPr>
          <p:cNvPr id="29" name="Gruppe 9">
            <a:extLst>
              <a:ext uri="{FF2B5EF4-FFF2-40B4-BE49-F238E27FC236}">
                <a16:creationId xmlns:a16="http://schemas.microsoft.com/office/drawing/2014/main" id="{6E9B4D8C-74EA-80F4-1EB8-DA653E1C95C8}"/>
              </a:ext>
            </a:extLst>
          </p:cNvPr>
          <p:cNvGrpSpPr/>
          <p:nvPr/>
        </p:nvGrpSpPr>
        <p:grpSpPr>
          <a:xfrm>
            <a:off x="4816475" y="1292225"/>
            <a:ext cx="3708412" cy="4651349"/>
            <a:chOff x="5652120" y="1484784"/>
            <a:chExt cx="2772308" cy="4651349"/>
          </a:xfrm>
        </p:grpSpPr>
        <p:sp>
          <p:nvSpPr>
            <p:cNvPr id="30" name="Rektangel 20">
              <a:extLst>
                <a:ext uri="{FF2B5EF4-FFF2-40B4-BE49-F238E27FC236}">
                  <a16:creationId xmlns:a16="http://schemas.microsoft.com/office/drawing/2014/main" id="{F4849063-45D5-1D13-FCC2-1BE31A879E05}"/>
                </a:ext>
              </a:extLst>
            </p:cNvPr>
            <p:cNvSpPr/>
            <p:nvPr/>
          </p:nvSpPr>
          <p:spPr bwMode="auto">
            <a:xfrm>
              <a:off x="5652120" y="1671637"/>
              <a:ext cx="2772308" cy="44644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baseline="0" dirty="0"/>
                <a:t>[ Indsæt primære drivers i casen – FTE besparelse på X grundet Y, omsætningseffekter, etc. ]</a:t>
              </a:r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 Disse genbruges som </a:t>
              </a:r>
              <a:r>
                <a:rPr lang="da-DK" sz="1000" dirty="0" err="1"/>
                <a:t>KPI’er</a:t>
              </a:r>
              <a:r>
                <a:rPr lang="da-DK" sz="1000" dirty="0"/>
                <a:t> ]</a:t>
              </a:r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 Er der ingen mulighed for NPV beregning så laves denne kasse også om en ikke økonomisk værdi. Husk at vise den med en graf, et billede eller noget helt tredje – eks. specifikke [ program ] spørgsmål. ]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a-DK" sz="1000" b="1" u="sng" dirty="0"/>
                <a:t>Øvrige forudsætninger for beregning</a:t>
              </a:r>
            </a:p>
            <a:p>
              <a:pPr marL="92075" marR="0" indent="-92075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 Indsæt øvrige forudsætninger ]</a:t>
              </a:r>
              <a:endParaRPr lang="da-DK" sz="1000" baseline="0" dirty="0"/>
            </a:p>
          </p:txBody>
        </p:sp>
        <p:sp>
          <p:nvSpPr>
            <p:cNvPr id="31" name="Rektangel 1">
              <a:extLst>
                <a:ext uri="{FF2B5EF4-FFF2-40B4-BE49-F238E27FC236}">
                  <a16:creationId xmlns:a16="http://schemas.microsoft.com/office/drawing/2014/main" id="{9A587F8C-02A5-5D84-EAE1-7926D9DECDB9}"/>
                </a:ext>
              </a:extLst>
            </p:cNvPr>
            <p:cNvSpPr/>
            <p:nvPr/>
          </p:nvSpPr>
          <p:spPr bwMode="auto">
            <a:xfrm>
              <a:off x="5652120" y="1484784"/>
              <a:ext cx="2772308" cy="36004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da-DK" sz="1200" dirty="0">
                  <a:solidFill>
                    <a:schemeClr val="bg1"/>
                  </a:solidFill>
                </a:rPr>
                <a:t>3 årig NPV på XXX,- kr.</a:t>
              </a:r>
            </a:p>
          </p:txBody>
        </p:sp>
      </p:grpSp>
      <p:sp>
        <p:nvSpPr>
          <p:cNvPr id="34" name="Tekstfelt 55">
            <a:extLst>
              <a:ext uri="{FF2B5EF4-FFF2-40B4-BE49-F238E27FC236}">
                <a16:creationId xmlns:a16="http://schemas.microsoft.com/office/drawing/2014/main" id="{1719CB20-5572-4F9C-AC23-7993261D0004}"/>
              </a:ext>
            </a:extLst>
          </p:cNvPr>
          <p:cNvSpPr txBox="1"/>
          <p:nvPr/>
        </p:nvSpPr>
        <p:spPr>
          <a:xfrm rot="19030343">
            <a:off x="5280025" y="2471738"/>
            <a:ext cx="272155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800" b="1" dirty="0">
                <a:solidFill>
                  <a:srgbClr val="FF0000"/>
                </a:solidFill>
              </a:rPr>
              <a:t>Dummy</a:t>
            </a:r>
          </a:p>
        </p:txBody>
      </p:sp>
      <p:grpSp>
        <p:nvGrpSpPr>
          <p:cNvPr id="36" name="Gruppe 96">
            <a:extLst>
              <a:ext uri="{FF2B5EF4-FFF2-40B4-BE49-F238E27FC236}">
                <a16:creationId xmlns:a16="http://schemas.microsoft.com/office/drawing/2014/main" id="{25FB1099-51E7-CEC7-5CD1-210B5D5F6EBA}"/>
              </a:ext>
            </a:extLst>
          </p:cNvPr>
          <p:cNvGrpSpPr/>
          <p:nvPr/>
        </p:nvGrpSpPr>
        <p:grpSpPr>
          <a:xfrm>
            <a:off x="784225" y="1292225"/>
            <a:ext cx="3708412" cy="4651349"/>
            <a:chOff x="5652120" y="1484784"/>
            <a:chExt cx="2772308" cy="4651349"/>
          </a:xfrm>
        </p:grpSpPr>
        <p:sp>
          <p:nvSpPr>
            <p:cNvPr id="37" name="Rektangel 97">
              <a:extLst>
                <a:ext uri="{FF2B5EF4-FFF2-40B4-BE49-F238E27FC236}">
                  <a16:creationId xmlns:a16="http://schemas.microsoft.com/office/drawing/2014/main" id="{A02A64FE-4E31-7AAB-29FB-D4959F31B476}"/>
                </a:ext>
              </a:extLst>
            </p:cNvPr>
            <p:cNvSpPr/>
            <p:nvPr/>
          </p:nvSpPr>
          <p:spPr bwMode="auto">
            <a:xfrm>
              <a:off x="5652120" y="1671637"/>
              <a:ext cx="2772308" cy="44644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dirty="0"/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baseline="0" dirty="0"/>
                <a:t>[ Bemærkninger til ovenstående KPI udvikling og hvad der skal</a:t>
              </a:r>
              <a:r>
                <a:rPr lang="da-DK" sz="1000" dirty="0"/>
                <a:t> få den til at udvikle sig som ønsket ]</a:t>
              </a:r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 Husk at perioden ikke skal være al for lang, men matche den for NPV beregning ]</a:t>
              </a:r>
            </a:p>
            <a:p>
              <a:pPr marL="171450" marR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Husk også at henvise til mere højfrekvente KPI målinger under KPI siden og definitionen heraf ]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a-DK" sz="1000" b="1" u="sng" baseline="0" dirty="0"/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a-DK" sz="1000" b="1" u="sng" dirty="0"/>
                <a:t>Øvrige positive effekter ved projektet</a:t>
              </a:r>
            </a:p>
            <a:p>
              <a:pPr marL="92075" marR="0" indent="-92075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da-DK" sz="1000" dirty="0"/>
                <a:t>[ Indsæt øvrige gode ting: ESAT effekter, CSAT effekter, NPS effekter, strategisk retning eller noget helt tredje  - gerne flere </a:t>
              </a:r>
              <a:r>
                <a:rPr lang="da-DK" sz="1000" dirty="0" err="1"/>
                <a:t>bullets</a:t>
              </a:r>
              <a:r>
                <a:rPr lang="da-DK" sz="1000" dirty="0"/>
                <a:t> ]</a:t>
              </a:r>
              <a:endParaRPr lang="da-DK" sz="1000" baseline="0" dirty="0"/>
            </a:p>
          </p:txBody>
        </p:sp>
        <p:sp>
          <p:nvSpPr>
            <p:cNvPr id="38" name="Rektangel 98">
              <a:extLst>
                <a:ext uri="{FF2B5EF4-FFF2-40B4-BE49-F238E27FC236}">
                  <a16:creationId xmlns:a16="http://schemas.microsoft.com/office/drawing/2014/main" id="{52CE22C1-36E1-7CE0-9021-4583544B6CA8}"/>
                </a:ext>
              </a:extLst>
            </p:cNvPr>
            <p:cNvSpPr/>
            <p:nvPr/>
          </p:nvSpPr>
          <p:spPr bwMode="auto">
            <a:xfrm>
              <a:off x="5652120" y="1484784"/>
              <a:ext cx="2772308" cy="36004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54000" rIns="72000" bIns="5400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da-DK" sz="1200" dirty="0">
                  <a:solidFill>
                    <a:schemeClr val="bg1"/>
                  </a:solidFill>
                </a:rPr>
                <a:t>[ God overskrift om: Ikke økonomiske effekter ]</a:t>
              </a:r>
            </a:p>
          </p:txBody>
        </p:sp>
      </p:grpSp>
      <p:cxnSp>
        <p:nvCxnSpPr>
          <p:cNvPr id="39" name="Lige forbindelse 14354">
            <a:extLst>
              <a:ext uri="{FF2B5EF4-FFF2-40B4-BE49-F238E27FC236}">
                <a16:creationId xmlns:a16="http://schemas.microsoft.com/office/drawing/2014/main" id="{0FFF5E39-48A7-CEAF-77F8-E9FAACBF6FE7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V="1">
            <a:off x="1751013" y="2570163"/>
            <a:ext cx="447675" cy="355600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Lige forbindelse 14355">
            <a:extLst>
              <a:ext uri="{FF2B5EF4-FFF2-40B4-BE49-F238E27FC236}">
                <a16:creationId xmlns:a16="http://schemas.microsoft.com/office/drawing/2014/main" id="{0BBD2A21-DD0D-D035-5F78-ED89172613C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759075" y="2235200"/>
            <a:ext cx="447675" cy="334963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6EEE7EB0-1893-6471-404C-5AD27C2F0E8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884238" y="1936750"/>
          <a:ext cx="3189287" cy="1885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42" name="Lige forbindelse 14353">
            <a:extLst>
              <a:ext uri="{FF2B5EF4-FFF2-40B4-BE49-F238E27FC236}">
                <a16:creationId xmlns:a16="http://schemas.microsoft.com/office/drawing/2014/main" id="{99500199-AD58-2467-F45C-6ECDF70E806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1470025" y="1825625"/>
            <a:ext cx="2016125" cy="690563"/>
          </a:xfrm>
          <a:prstGeom prst="line">
            <a:avLst/>
          </a:prstGeom>
          <a:solidFill>
            <a:schemeClr val="accent2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3" name="Rektangel 15">
            <a:extLst>
              <a:ext uri="{FF2B5EF4-FFF2-40B4-BE49-F238E27FC236}">
                <a16:creationId xmlns:a16="http://schemas.microsoft.com/office/drawing/2014/main" id="{C1482205-052D-1121-5DED-C9949FDDC11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308100" y="3656013"/>
            <a:ext cx="325438" cy="13652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fld id="{C5292333-ACD1-424B-9BDC-99BA09067E18}" type="datetime'2''''''0''''''''’''''''''''''''x''''''''''''''''''''x'''">
              <a:rPr lang="en-US" altLang="en-US" sz="900" smtClean="0"/>
              <a:pPr algn="ctr"/>
              <a:t>20’xx</a:t>
            </a:fld>
            <a:endParaRPr kumimoji="0" lang="da-DK" sz="900" strike="noStrike" cap="none" normalizeH="0" dirty="0" err="1">
              <a:ln>
                <a:noFill/>
              </a:ln>
              <a:effectLst/>
              <a:sym typeface="+mn-lt"/>
            </a:endParaRPr>
          </a:p>
        </p:txBody>
      </p:sp>
      <p:sp>
        <p:nvSpPr>
          <p:cNvPr id="44" name="Rektangel 25">
            <a:extLst>
              <a:ext uri="{FF2B5EF4-FFF2-40B4-BE49-F238E27FC236}">
                <a16:creationId xmlns:a16="http://schemas.microsoft.com/office/drawing/2014/main" id="{5CD7F693-939F-D561-CAFC-73199CDE04B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16163" y="3656013"/>
            <a:ext cx="325438" cy="13652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fld id="{90411171-828F-4BAF-9726-A80C91795104}" type="datetime'''''''2''0''''''''''''''’''''''''''''''x''''''x'''">
              <a:rPr lang="en-US" altLang="en-US" sz="900" smtClean="0"/>
              <a:pPr algn="ctr"/>
              <a:t>20’xx</a:t>
            </a:fld>
            <a:endParaRPr kumimoji="0" lang="da-DK" sz="900" strike="noStrike" cap="none" normalizeH="0" dirty="0" err="1">
              <a:ln>
                <a:noFill/>
              </a:ln>
              <a:effectLst/>
              <a:sym typeface="+mn-lt"/>
            </a:endParaRPr>
          </a:p>
        </p:txBody>
      </p:sp>
      <p:sp>
        <p:nvSpPr>
          <p:cNvPr id="45" name="Rektangel 14335">
            <a:extLst>
              <a:ext uri="{FF2B5EF4-FFF2-40B4-BE49-F238E27FC236}">
                <a16:creationId xmlns:a16="http://schemas.microsoft.com/office/drawing/2014/main" id="{6EB78BB5-1825-2252-BBF5-8B8DF99A207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324225" y="3656013"/>
            <a:ext cx="325438" cy="13652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fld id="{A3BD94A1-B509-4873-9208-916DE40E772E}" type="datetime'''''2''''''''''''''0''''’x''''''''''x'''''''''''''''''''''''''">
              <a:rPr lang="en-US" altLang="en-US" sz="900" smtClean="0"/>
              <a:pPr algn="ctr"/>
              <a:t>20’xx</a:t>
            </a:fld>
            <a:endParaRPr kumimoji="0" lang="da-DK" sz="900" strike="noStrike" cap="none" normalizeH="0" dirty="0" err="1">
              <a:ln>
                <a:noFill/>
              </a:ln>
              <a:effectLst/>
              <a:sym typeface="+mn-lt"/>
            </a:endParaRPr>
          </a:p>
        </p:txBody>
      </p:sp>
      <p:sp>
        <p:nvSpPr>
          <p:cNvPr id="46" name="Ellipse 14352">
            <a:extLst>
              <a:ext uri="{FF2B5EF4-FFF2-40B4-BE49-F238E27FC236}">
                <a16:creationId xmlns:a16="http://schemas.microsoft.com/office/drawing/2014/main" id="{1F1EB634-8299-271E-2D38-6DAB730D258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030413" y="2033588"/>
            <a:ext cx="896938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fld id="{932CC28C-1778-4286-8A26-7A174BD38EF3}" type="datetime'+''''''''''''''''41''''''%'''''''">
              <a:rPr lang="en-US" altLang="en-US" sz="1400" b="1" smtClean="0">
                <a:effectLst/>
              </a:rPr>
              <a:pPr algn="ctr">
                <a:lnSpc>
                  <a:spcPct val="90000"/>
                </a:lnSpc>
              </a:pPr>
              <a:t>+41%</a:t>
            </a:fld>
            <a:endParaRPr kumimoji="0" lang="da-DK" sz="1400" b="1" strike="noStrike" cap="none" normalizeH="0" dirty="0" err="1">
              <a:ln>
                <a:noFill/>
              </a:ln>
              <a:effectLst/>
              <a:sym typeface="+mn-lt"/>
            </a:endParaRPr>
          </a:p>
        </p:txBody>
      </p:sp>
      <p:sp>
        <p:nvSpPr>
          <p:cNvPr id="47" name="Tekstboks 14347">
            <a:extLst>
              <a:ext uri="{FF2B5EF4-FFF2-40B4-BE49-F238E27FC236}">
                <a16:creationId xmlns:a16="http://schemas.microsoft.com/office/drawing/2014/main" id="{2D4D1941-805F-66A9-3F7C-2B26CC8CBB98}"/>
              </a:ext>
            </a:extLst>
          </p:cNvPr>
          <p:cNvSpPr txBox="1"/>
          <p:nvPr/>
        </p:nvSpPr>
        <p:spPr>
          <a:xfrm>
            <a:off x="927100" y="1730375"/>
            <a:ext cx="208823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dirty="0"/>
              <a:t>[ Titel på diagram ]</a:t>
            </a:r>
          </a:p>
        </p:txBody>
      </p:sp>
      <p:sp>
        <p:nvSpPr>
          <p:cNvPr id="48" name="Tekstboks 114">
            <a:extLst>
              <a:ext uri="{FF2B5EF4-FFF2-40B4-BE49-F238E27FC236}">
                <a16:creationId xmlns:a16="http://schemas.microsoft.com/office/drawing/2014/main" id="{4080FE50-6025-A523-461C-FC75476D79F4}"/>
              </a:ext>
            </a:extLst>
          </p:cNvPr>
          <p:cNvSpPr txBox="1"/>
          <p:nvPr/>
        </p:nvSpPr>
        <p:spPr>
          <a:xfrm>
            <a:off x="796925" y="6000750"/>
            <a:ext cx="284431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dirty="0"/>
              <a:t>Note: [ Indsæt noter ]</a:t>
            </a:r>
          </a:p>
        </p:txBody>
      </p:sp>
      <p:sp>
        <p:nvSpPr>
          <p:cNvPr id="51" name="Rektangel 97">
            <a:extLst>
              <a:ext uri="{FF2B5EF4-FFF2-40B4-BE49-F238E27FC236}">
                <a16:creationId xmlns:a16="http://schemas.microsoft.com/office/drawing/2014/main" id="{74EFEEE9-62BD-D612-CA5C-BFBB5CB08DF3}"/>
              </a:ext>
            </a:extLst>
          </p:cNvPr>
          <p:cNvSpPr/>
          <p:nvPr/>
        </p:nvSpPr>
        <p:spPr bwMode="auto">
          <a:xfrm>
            <a:off x="8848725" y="1292224"/>
            <a:ext cx="3115064" cy="465134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4800" baseline="0" dirty="0"/>
              <a:t>Business Case Light</a:t>
            </a:r>
          </a:p>
        </p:txBody>
      </p:sp>
      <p:graphicFrame>
        <p:nvGraphicFramePr>
          <p:cNvPr id="53" name="NPV Table">
            <a:extLst>
              <a:ext uri="{FF2B5EF4-FFF2-40B4-BE49-F238E27FC236}">
                <a16:creationId xmlns:a16="http://schemas.microsoft.com/office/drawing/2014/main" id="{478F024B-1591-4ED0-8D65-DD3517CF70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9414691"/>
              </p:ext>
            </p:extLst>
          </p:nvPr>
        </p:nvGraphicFramePr>
        <p:xfrm>
          <a:off x="4889500" y="1727200"/>
          <a:ext cx="3556000" cy="2311400"/>
        </p:xfrm>
        <a:graphic>
          <a:graphicData uri="http://schemas.openxmlformats.org/drawingml/2006/table">
            <a:tbl>
              <a:tblPr/>
              <a:tblGrid>
                <a:gridCol w="1422400">
                  <a:extLst>
                    <a:ext uri="{9D8B030D-6E8A-4147-A177-3AD203B41FA5}">
                      <a16:colId xmlns:a16="http://schemas.microsoft.com/office/drawing/2014/main" val="3118289256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862594108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3247219884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731024052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/>
                      <a:endParaRPr lang="da-DK" sz="1000" b="1">
                        <a:solidFill>
                          <a:srgbClr val="243F5F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>
                          <a:solidFill>
                            <a:srgbClr val="243F5F"/>
                          </a:solidFill>
                          <a:latin typeface="Calibri"/>
                          <a:ea typeface="Calibri"/>
                          <a:cs typeface="Calibri"/>
                        </a:rPr>
                        <a:t>20XX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>
                          <a:solidFill>
                            <a:srgbClr val="243F5F"/>
                          </a:solidFill>
                          <a:latin typeface="Calibri"/>
                          <a:ea typeface="Calibri"/>
                          <a:cs typeface="Calibri"/>
                        </a:rPr>
                        <a:t>20XX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>
                          <a:solidFill>
                            <a:srgbClr val="243F5F"/>
                          </a:solidFill>
                          <a:latin typeface="Calibri"/>
                          <a:ea typeface="Calibri"/>
                          <a:cs typeface="Calibri"/>
                        </a:rPr>
                        <a:t>20XX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550258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Omsætning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0522326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OPEX, besparelse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6600654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   FTE påvirkning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175712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   Øvrige OPEX besparelser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141016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OPEX, omkostning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4095763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   FTE påvirkning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65149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/>
                      <a:r>
                        <a:rPr lang="da-DK" sz="1000" b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   Øvrige OPEX omkostninger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707252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EBITDA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2.250.000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2010671"/>
                  </a:ext>
                </a:extLst>
              </a:tr>
              <a:tr h="50800">
                <a:tc>
                  <a:txBody>
                    <a:bodyPr/>
                    <a:lstStyle/>
                    <a:p>
                      <a:pPr algn="l"/>
                      <a:endParaRPr lang="da-DK" sz="10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8776390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NPV, 3 år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5.959.07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1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1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074778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NPV, 5 år</a:t>
                      </a:r>
                    </a:p>
                  </a:txBody>
                  <a:tcPr marT="0" marB="0" anchor="ctr">
                    <a:lnL w="12700">
                      <a:noFill/>
                    </a:lnL>
                    <a:lnR w="9525" cap="flat" cmpd="sng" algn="ctr">
                      <a:solidFill>
                        <a:srgbClr val="808080"/>
                      </a:solidFill>
                      <a:prstDash val="soli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0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9.350.279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rgbClr val="808080"/>
                      </a:solidFill>
                      <a:prstDash val="solid"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1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1000" b="1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T="0" marB="0" anchor="ctr">
                    <a:lnL w="12700">
                      <a:noFill/>
                    </a:lnL>
                    <a:lnR w="12700"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</a:lnT>
                    <a:lnB w="12700">
                      <a:noFill/>
                    </a:lnB>
                    <a:lnTlToBr w="0"/>
                    <a:lnBlToTr w="0"/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80147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86170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D71613D-9829-412F-3EA1-70F43DDF14B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446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71613D-9829-412F-3EA1-70F43DDF14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917142-6088-9FF5-0E01-94170393B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[ KPI definition – skriv navn som overskrift 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A58713-F90A-FF4C-6D7D-241D1400A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4</a:t>
            </a:fld>
            <a:endParaRPr lang="da-DK" dirty="0"/>
          </a:p>
        </p:txBody>
      </p:sp>
      <p:graphicFrame>
        <p:nvGraphicFramePr>
          <p:cNvPr id="5" name="Tabel 5">
            <a:extLst>
              <a:ext uri="{FF2B5EF4-FFF2-40B4-BE49-F238E27FC236}">
                <a16:creationId xmlns:a16="http://schemas.microsoft.com/office/drawing/2014/main" id="{E48AECBB-6BB8-7C4A-1A99-926EF2A70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803282"/>
              </p:ext>
            </p:extLst>
          </p:nvPr>
        </p:nvGraphicFramePr>
        <p:xfrm>
          <a:off x="1477886" y="1484784"/>
          <a:ext cx="8984878" cy="39471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1948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900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8323">
                <a:tc>
                  <a:txBody>
                    <a:bodyPr/>
                    <a:lstStyle/>
                    <a:p>
                      <a:r>
                        <a:rPr lang="da-DK" sz="1200" dirty="0"/>
                        <a:t>KPI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[ Giv </a:t>
                      </a:r>
                      <a:r>
                        <a:rPr lang="da-DK" sz="1200" b="1" kern="1200" dirty="0" err="1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KPI’en</a:t>
                      </a:r>
                      <a:r>
                        <a:rPr lang="da-DK" sz="12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et navn ]</a:t>
                      </a:r>
                      <a:endParaRPr lang="da-DK" sz="1200" b="1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dirty="0"/>
                        <a:t>Definition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[ Beskriv</a:t>
                      </a:r>
                      <a:r>
                        <a:rPr lang="da-DK" sz="1200" baseline="0" dirty="0"/>
                        <a:t> præcist hvad </a:t>
                      </a:r>
                      <a:r>
                        <a:rPr lang="da-DK" sz="1200" baseline="0" dirty="0" err="1"/>
                        <a:t>KPI’en</a:t>
                      </a:r>
                      <a:r>
                        <a:rPr lang="da-DK" sz="1200" baseline="0" dirty="0"/>
                        <a:t> viser, hvordan den beregnes, eventuelle usikkerheder samt hvordan den måles ]</a:t>
                      </a:r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dirty="0"/>
                        <a:t>Måles pr.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[ Beskriv frekvensen på hvornår det måles ]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dirty="0"/>
                        <a:t>Måles</a:t>
                      </a:r>
                      <a:r>
                        <a:rPr lang="da-DK" sz="1200" baseline="0" dirty="0"/>
                        <a:t> af.</a:t>
                      </a:r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[ Navn samt</a:t>
                      </a:r>
                      <a:r>
                        <a:rPr lang="da-DK" sz="1200" baseline="0" dirty="0"/>
                        <a:t> fuld afdelingsnavn inkl. hierarki </a:t>
                      </a:r>
                      <a:r>
                        <a:rPr lang="da-DK" sz="1200" baseline="0" dirty="0" err="1"/>
                        <a:t>ala</a:t>
                      </a:r>
                      <a:r>
                        <a:rPr lang="da-DK" sz="1200" baseline="0" dirty="0"/>
                        <a:t> [ afdeling ] ]</a:t>
                      </a:r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dirty="0"/>
                        <a:t>Baseline</a:t>
                      </a:r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[ Lav en graf (søjler eller linje) der viser den historiske udvikling (baseline) samt de satte </a:t>
                      </a:r>
                      <a:r>
                        <a:rPr lang="da-DK" sz="1200" dirty="0" err="1"/>
                        <a:t>targets</a:t>
                      </a:r>
                      <a:r>
                        <a:rPr lang="da-DK" sz="1200" dirty="0"/>
                        <a:t> – husk at historik</a:t>
                      </a:r>
                      <a:r>
                        <a:rPr lang="da-DK" sz="1200" baseline="0" dirty="0"/>
                        <a:t> og </a:t>
                      </a:r>
                      <a:r>
                        <a:rPr lang="da-DK" sz="1200" baseline="0" dirty="0" err="1"/>
                        <a:t>target</a:t>
                      </a:r>
                      <a:r>
                        <a:rPr lang="da-DK" sz="1200" baseline="0" dirty="0"/>
                        <a:t> skal være forskellige farver ]</a:t>
                      </a:r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  <a:p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dirty="0"/>
                        <a:t>Targets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[ Angiv</a:t>
                      </a:r>
                      <a:r>
                        <a:rPr lang="da-DK" sz="1200" baseline="0" dirty="0"/>
                        <a:t> fire </a:t>
                      </a:r>
                      <a:r>
                        <a:rPr lang="da-DK" sz="1200" baseline="0" dirty="0" err="1"/>
                        <a:t>targets</a:t>
                      </a:r>
                      <a:r>
                        <a:rPr lang="da-DK" sz="1200" baseline="0" dirty="0"/>
                        <a:t> (eks. kvartaler) i tekst for at undgå misforståelser ud fra grafen ]</a:t>
                      </a:r>
                      <a:endParaRPr lang="da-DK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7767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56E16D-4908-0263-C723-4537F5B06F4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755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6E16D-4908-0263-C723-4537F5B0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204E95-2A40-186A-74D7-5EC5B067F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Interessen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05178C-99E2-D583-FC4C-CB6CA93709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5</a:t>
            </a:fld>
            <a:endParaRPr lang="da-DK" dirty="0"/>
          </a:p>
        </p:txBody>
      </p:sp>
      <p:graphicFrame>
        <p:nvGraphicFramePr>
          <p:cNvPr id="5" name="Tabel 5">
            <a:extLst>
              <a:ext uri="{FF2B5EF4-FFF2-40B4-BE49-F238E27FC236}">
                <a16:creationId xmlns:a16="http://schemas.microsoft.com/office/drawing/2014/main" id="{D042EDA9-2251-EDAD-5FEA-E60B2379BB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5111244"/>
              </p:ext>
            </p:extLst>
          </p:nvPr>
        </p:nvGraphicFramePr>
        <p:xfrm>
          <a:off x="1523372" y="1628800"/>
          <a:ext cx="9723600" cy="3913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2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31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9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8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2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052">
                <a:tc gridSpan="5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dirty="0"/>
                        <a:t>Overblik over vigtigste</a:t>
                      </a:r>
                      <a:r>
                        <a:rPr lang="da-DK" sz="800" b="1" baseline="0" dirty="0"/>
                        <a:t> interessenter for projektet</a:t>
                      </a:r>
                      <a:endParaRPr lang="da-DK" sz="800" b="1" dirty="0"/>
                    </a:p>
                  </a:txBody>
                  <a:tcPr marL="0" marR="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b="1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b="1" dirty="0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800" b="1" dirty="0"/>
                    </a:p>
                  </a:txBody>
                  <a:tcP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6724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dirty="0"/>
                        <a:t>Top 10-15 vigtigste interessenter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b="1" dirty="0"/>
                        <a:t>Enhed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b="1" dirty="0"/>
                        <a:t>Begrundels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Angiv hvorfor denne interessent er vigtig på en positiv måde]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Navn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</a:t>
                      </a:r>
                      <a:r>
                        <a:rPr lang="da-DK" sz="800" baseline="0" dirty="0"/>
                        <a:t> Enhed ]</a:t>
                      </a:r>
                      <a:endParaRPr lang="da-DK" sz="800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800" dirty="0"/>
                        <a:t>[ Begrundelse ]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9252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 gridSpan="4">
                  <a:txBody>
                    <a:bodyPr/>
                    <a:lstStyle/>
                    <a:p>
                      <a:r>
                        <a:rPr lang="da-DK" sz="700" dirty="0"/>
                        <a:t>Noter: [ Indsæt noter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89572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E9C59D4-A9F6-80F0-B4FF-58A8102F84E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2534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9C59D4-A9F6-80F0-B4FF-58A8102F8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21CD72-6A10-B94E-A9E2-24773545E8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Projektidé: [ Navn på idé 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E28F26-EF56-7FDA-B160-DD5E3E1105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6</a:t>
            </a:fld>
            <a:endParaRPr lang="da-DK" dirty="0"/>
          </a:p>
        </p:txBody>
      </p:sp>
      <p:graphicFrame>
        <p:nvGraphicFramePr>
          <p:cNvPr id="5" name="Tabel 2">
            <a:extLst>
              <a:ext uri="{FF2B5EF4-FFF2-40B4-BE49-F238E27FC236}">
                <a16:creationId xmlns:a16="http://schemas.microsoft.com/office/drawing/2014/main" id="{C6FB3752-1ED7-671C-8425-5B24E51D2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774770"/>
              </p:ext>
            </p:extLst>
          </p:nvPr>
        </p:nvGraphicFramePr>
        <p:xfrm>
          <a:off x="1363482" y="1675686"/>
          <a:ext cx="8880702" cy="3583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6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138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6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2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096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28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096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16024">
                <a:tc rowSpan="4">
                  <a:txBody>
                    <a:bodyPr/>
                    <a:lstStyle/>
                    <a:p>
                      <a:pPr algn="ctr"/>
                      <a:r>
                        <a:rPr lang="da-DK" sz="1000" b="0" dirty="0"/>
                        <a:t>Formål</a:t>
                      </a:r>
                    </a:p>
                  </a:txBody>
                  <a:tcPr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Baggrund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r>
                        <a:rPr lang="da-DK" sz="1000" b="1" dirty="0"/>
                        <a:t>Målsætninger for projektet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[ Beskriv kort den aktuelle situation ]</a:t>
                      </a:r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 gridSpan="4">
                  <a:txBody>
                    <a:bodyPr/>
                    <a:lstStyle/>
                    <a:p>
                      <a:r>
                        <a:rPr lang="da-DK" sz="1000" dirty="0"/>
                        <a:t>[ Beskriv hvad der konkret skal leveres af projektet. Hvad er succeskriterierne? ]</a:t>
                      </a:r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dirty="0"/>
                        <a:t>Hvad skal ændres?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[ Beskriv konkret hvad der skal ændres</a:t>
                      </a:r>
                      <a:r>
                        <a:rPr lang="da-DK" sz="1000" baseline="0" dirty="0"/>
                        <a:t> som følge af projektets leverancer ]</a:t>
                      </a:r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200">
                <a:tc>
                  <a:txBody>
                    <a:bodyPr/>
                    <a:lstStyle/>
                    <a:p>
                      <a:endParaRPr lang="da-DK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pPr algn="ctr"/>
                      <a:r>
                        <a:rPr lang="da-DK" sz="1000" b="0" dirty="0"/>
                        <a:t>Forventet </a:t>
                      </a:r>
                      <a:br>
                        <a:rPr lang="da-DK" sz="1000" b="0" dirty="0"/>
                      </a:br>
                      <a:r>
                        <a:rPr lang="da-DK" sz="1000" b="0" dirty="0"/>
                        <a:t>effekt</a:t>
                      </a:r>
                    </a:p>
                  </a:txBody>
                  <a:tcPr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00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Forretningsværdi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r>
                        <a:rPr lang="da-DK" sz="1000" b="1" dirty="0"/>
                        <a:t>Effektscores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r>
                        <a:rPr lang="da-DK" sz="1000" dirty="0"/>
                        <a:t>[ Beskriv den forventede værdi for [ virksomhed ].</a:t>
                      </a:r>
                      <a:r>
                        <a:rPr lang="da-DK" sz="1000" baseline="0" dirty="0"/>
                        <a:t> Både den direkte og indirekte ]</a:t>
                      </a:r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CSAT</a:t>
                      </a:r>
                    </a:p>
                  </a:txBody>
                  <a:tcPr marL="0" marR="90000" marT="46800" marB="46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Tværgående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 err="1"/>
                        <a:t>Cost</a:t>
                      </a:r>
                      <a:endParaRPr lang="da-DK" sz="1000" dirty="0"/>
                    </a:p>
                  </a:txBody>
                  <a:tcPr marL="0" marR="90000" marT="46800" marB="46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NPV&gt;5 </a:t>
                      </a:r>
                      <a:r>
                        <a:rPr lang="da-DK" sz="1000" dirty="0" err="1"/>
                        <a:t>DKKm</a:t>
                      </a:r>
                      <a:endParaRPr lang="da-DK" sz="1000" dirty="0"/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Strategi</a:t>
                      </a:r>
                    </a:p>
                  </a:txBody>
                  <a:tcPr marL="0" marR="90000" marT="46800" marB="46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ESAT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97200">
                <a:tc>
                  <a:txBody>
                    <a:bodyPr/>
                    <a:lstStyle/>
                    <a:p>
                      <a:endParaRPr lang="da-DK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7824">
                <a:tc rowSpan="4">
                  <a:txBody>
                    <a:bodyPr/>
                    <a:lstStyle/>
                    <a:p>
                      <a:pPr algn="ctr"/>
                      <a:r>
                        <a:rPr lang="da-DK" sz="1000" b="0" dirty="0"/>
                        <a:t>Stamdata</a:t>
                      </a:r>
                    </a:p>
                  </a:txBody>
                  <a:tcPr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Sponso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r>
                        <a:rPr lang="da-DK" sz="1000" b="1" dirty="0"/>
                        <a:t>Datoe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[ Navn</a:t>
                      </a:r>
                      <a:r>
                        <a:rPr lang="da-DK" sz="1000" baseline="0" dirty="0"/>
                        <a:t> på Sponsor ]</a:t>
                      </a:r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Indmelding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da-DK" sz="1000" dirty="0"/>
                        <a:t>[ dato ]</a:t>
                      </a:r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Proces-eje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Igangsætning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da-DK" sz="1000" dirty="0"/>
                        <a:t>[</a:t>
                      </a:r>
                      <a:r>
                        <a:rPr lang="da-DK" sz="1000" baseline="0" dirty="0"/>
                        <a:t> ikke relevant / dato ]</a:t>
                      </a:r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[ Navn</a:t>
                      </a:r>
                      <a:r>
                        <a:rPr lang="da-DK" sz="1000" baseline="0" dirty="0"/>
                        <a:t> på proces og proces-ejer ]</a:t>
                      </a:r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90000" marR="90000" marT="0" marB="468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dirty="0"/>
                        <a:t>Afvisning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da-DK" sz="1000" dirty="0"/>
                        <a:t>[</a:t>
                      </a:r>
                      <a:r>
                        <a:rPr lang="da-DK" sz="1000" baseline="0" dirty="0"/>
                        <a:t> ikke relevant / dato ]</a:t>
                      </a:r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a-DK" sz="1000" dirty="0"/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pic>
        <p:nvPicPr>
          <p:cNvPr id="6" name="Picture 12">
            <a:extLst>
              <a:ext uri="{FF2B5EF4-FFF2-40B4-BE49-F238E27FC236}">
                <a16:creationId xmlns:a16="http://schemas.microsoft.com/office/drawing/2014/main" id="{17C8D63A-A5E5-9227-CC89-07D2BD4F8A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grayscl/>
          </a:blip>
          <a:srcRect l="17163" r="19987"/>
          <a:stretch/>
        </p:blipFill>
        <p:spPr bwMode="auto">
          <a:xfrm>
            <a:off x="6326986" y="3873182"/>
            <a:ext cx="321489" cy="25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5">
            <a:extLst>
              <a:ext uri="{FF2B5EF4-FFF2-40B4-BE49-F238E27FC236}">
                <a16:creationId xmlns:a16="http://schemas.microsoft.com/office/drawing/2014/main" id="{8F4AF681-1710-736F-91E8-829E95F25F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grayscl/>
          </a:blip>
          <a:srcRect l="17885" r="17885"/>
          <a:stretch/>
        </p:blipFill>
        <p:spPr bwMode="auto">
          <a:xfrm>
            <a:off x="8438806" y="3150992"/>
            <a:ext cx="321489" cy="244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>
            <a:extLst>
              <a:ext uri="{FF2B5EF4-FFF2-40B4-BE49-F238E27FC236}">
                <a16:creationId xmlns:a16="http://schemas.microsoft.com/office/drawing/2014/main" id="{4CD2A4E3-50FC-E3D2-2812-2461930322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grayscl/>
          </a:blip>
          <a:srcRect l="17540" r="18230"/>
          <a:stretch/>
        </p:blipFill>
        <p:spPr bwMode="auto">
          <a:xfrm>
            <a:off x="6326986" y="3512087"/>
            <a:ext cx="321489" cy="24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3">
            <a:extLst>
              <a:ext uri="{FF2B5EF4-FFF2-40B4-BE49-F238E27FC236}">
                <a16:creationId xmlns:a16="http://schemas.microsoft.com/office/drawing/2014/main" id="{97E0DEC7-1758-2662-CC81-45359F583A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39" r="18229"/>
          <a:stretch/>
        </p:blipFill>
        <p:spPr bwMode="auto">
          <a:xfrm>
            <a:off x="6326986" y="3150992"/>
            <a:ext cx="321489" cy="24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>
            <a:extLst>
              <a:ext uri="{FF2B5EF4-FFF2-40B4-BE49-F238E27FC236}">
                <a16:creationId xmlns:a16="http://schemas.microsoft.com/office/drawing/2014/main" id="{1D3B0723-F25A-414D-EF84-B9FCE86D4F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grayscl/>
          </a:blip>
          <a:srcRect l="17163" r="19987"/>
          <a:stretch/>
        </p:blipFill>
        <p:spPr bwMode="auto">
          <a:xfrm>
            <a:off x="8438806" y="3508717"/>
            <a:ext cx="321489" cy="25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2">
            <a:extLst>
              <a:ext uri="{FF2B5EF4-FFF2-40B4-BE49-F238E27FC236}">
                <a16:creationId xmlns:a16="http://schemas.microsoft.com/office/drawing/2014/main" id="{E42004C4-C893-74C0-5AE7-ED90E18C05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grayscl/>
          </a:blip>
          <a:srcRect l="17163" r="19987"/>
          <a:stretch/>
        </p:blipFill>
        <p:spPr bwMode="auto">
          <a:xfrm>
            <a:off x="8438806" y="3873182"/>
            <a:ext cx="321489" cy="25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847626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3229145-1613-E97C-281D-EE5CE4B7DDB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9418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229145-1613-E97C-281D-EE5CE4B7D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E56A33-56E8-36B6-B6FE-474D7BADD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Eksempel på slutproduk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0E4389-0EAE-6926-2773-1974B5604E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17</a:t>
            </a:fld>
            <a:endParaRPr lang="da-DK" dirty="0"/>
          </a:p>
        </p:txBody>
      </p:sp>
      <p:sp>
        <p:nvSpPr>
          <p:cNvPr id="5" name="Rektangel 3">
            <a:extLst>
              <a:ext uri="{FF2B5EF4-FFF2-40B4-BE49-F238E27FC236}">
                <a16:creationId xmlns:a16="http://schemas.microsoft.com/office/drawing/2014/main" id="{B1E4B1CE-F87A-369A-4411-242027A86DA2}"/>
              </a:ext>
            </a:extLst>
          </p:cNvPr>
          <p:cNvSpPr/>
          <p:nvPr/>
        </p:nvSpPr>
        <p:spPr bwMode="auto">
          <a:xfrm>
            <a:off x="1972652" y="1728438"/>
            <a:ext cx="8487192" cy="378026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a-DK" sz="2000" dirty="0">
                <a:solidFill>
                  <a:srgbClr val="4D0000"/>
                </a:solidFill>
              </a:rPr>
              <a:t>Indsæt billeder af nogle væsentlige leverancer fra projektet. </a:t>
            </a:r>
            <a:br>
              <a:rPr lang="da-DK" sz="2000" dirty="0">
                <a:solidFill>
                  <a:srgbClr val="4D0000"/>
                </a:solidFill>
              </a:rPr>
            </a:br>
            <a:br>
              <a:rPr lang="da-DK" sz="2000" dirty="0">
                <a:solidFill>
                  <a:srgbClr val="4D0000"/>
                </a:solidFill>
              </a:rPr>
            </a:br>
            <a:r>
              <a:rPr lang="da-DK" sz="2000" dirty="0">
                <a:solidFill>
                  <a:srgbClr val="4D0000"/>
                </a:solidFill>
              </a:rPr>
              <a:t>Brug gerne flere sider.</a:t>
            </a:r>
          </a:p>
        </p:txBody>
      </p:sp>
    </p:spTree>
    <p:extLst>
      <p:ext uri="{BB962C8B-B14F-4D97-AF65-F5344CB8AC3E}">
        <p14:creationId xmlns:p14="http://schemas.microsoft.com/office/powerpoint/2010/main" val="41420513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C1D0C-9889-4426-B1A5-D1525434E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This Template</a:t>
            </a: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FAA4B4-4D9C-4071-B2D3-C4C4D38163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document is a project completion template from StruktureretSundFornuft.dk, used to close out a project, assess outcomes, and capture learnings before handover.</a:t>
            </a:r>
          </a:p>
          <a:p>
            <a:r>
              <a:rPr lang="en-US" dirty="0"/>
              <a:t>It covers seven areas — Success Criteria Assessment, KPI Development, Future Operational Tasks, Project Tracks &amp; Key Deliverables, Milestones, Outstanding Issues &amp; Owners, and Lessons Learned — plus a supporting Appendix. Use what makes sense in your specific use cas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8CCDBF-5222-474E-ABC9-94EF8ACF44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30507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6C04764-C227-690A-5265-762155F6825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433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C04764-C227-690A-5265-762155F68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E748DAAA-173D-BD33-DD92-23B299DCB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INDHOL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7E026C-F03F-38D1-B2D5-20A8F5DD64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3</a:t>
            </a:fld>
            <a:endParaRPr lang="da-DK" dirty="0"/>
          </a:p>
        </p:txBody>
      </p:sp>
      <p:graphicFrame>
        <p:nvGraphicFramePr>
          <p:cNvPr id="2" name="Content Placeholder 2">
            <a:extLst>
              <a:ext uri="{FF2B5EF4-FFF2-40B4-BE49-F238E27FC236}">
                <a16:creationId xmlns:a16="http://schemas.microsoft.com/office/drawing/2014/main" id="{033B06A4-8B55-F44A-84E4-8CCF12D6E0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2719767"/>
              </p:ext>
            </p:extLst>
          </p:nvPr>
        </p:nvGraphicFramePr>
        <p:xfrm>
          <a:off x="1389077" y="1701756"/>
          <a:ext cx="9383001" cy="3013368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53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170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dirty="0"/>
                        <a:t>Vurdering af succeskriterier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Udvikling i projektets primære </a:t>
                      </a:r>
                      <a:r>
                        <a:rPr lang="da-DK" dirty="0" err="1"/>
                        <a:t>KPI’er</a:t>
                      </a:r>
                      <a:endParaRPr lang="da-DK" dirty="0"/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Fremtidige driftsopgaver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Projektspor og væsentlige leverancer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Oversigt over milepæle i projektet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Oversigt over udeståender og ansvarlige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90679"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2104"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Væsentlig læring til fremtidige produkter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3608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41D54DB0-CF11-E503-2B6C-21D76D07859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709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D54DB0-CF11-E503-2B6C-21D76D078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D917037-4C3E-73C5-040B-756CA9344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1. Vurdering af succeskriteri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17F5A-48CF-F4B8-E166-9DD1A3B7CA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4" name="Rektangel 4">
            <a:extLst>
              <a:ext uri="{FF2B5EF4-FFF2-40B4-BE49-F238E27FC236}">
                <a16:creationId xmlns:a16="http://schemas.microsoft.com/office/drawing/2014/main" id="{B7CF4435-47DD-8530-B244-7FC86C01A1AC}"/>
              </a:ext>
            </a:extLst>
          </p:cNvPr>
          <p:cNvSpPr/>
          <p:nvPr/>
        </p:nvSpPr>
        <p:spPr bwMode="auto">
          <a:xfrm>
            <a:off x="829917" y="1367221"/>
            <a:ext cx="10388150" cy="446449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8100" dir="2700000" algn="ctr" rotWithShape="0">
              <a:srgbClr val="000000"/>
            </a:outerShdw>
          </a:effectLst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cxnSp>
        <p:nvCxnSpPr>
          <p:cNvPr id="5" name="Lige forbindelse 7">
            <a:extLst>
              <a:ext uri="{FF2B5EF4-FFF2-40B4-BE49-F238E27FC236}">
                <a16:creationId xmlns:a16="http://schemas.microsoft.com/office/drawing/2014/main" id="{DAE15F19-1917-E82B-C389-E53DDDF82BCF}"/>
              </a:ext>
            </a:extLst>
          </p:cNvPr>
          <p:cNvCxnSpPr>
            <a:cxnSpLocks/>
          </p:cNvCxnSpPr>
          <p:nvPr/>
        </p:nvCxnSpPr>
        <p:spPr bwMode="auto">
          <a:xfrm>
            <a:off x="973933" y="1943285"/>
            <a:ext cx="10019828" cy="0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Rektangel 10">
            <a:extLst>
              <a:ext uri="{FF2B5EF4-FFF2-40B4-BE49-F238E27FC236}">
                <a16:creationId xmlns:a16="http://schemas.microsoft.com/office/drawing/2014/main" id="{D8706C40-069C-26E9-65BA-6C6A63FA67BB}"/>
              </a:ext>
            </a:extLst>
          </p:cNvPr>
          <p:cNvSpPr/>
          <p:nvPr/>
        </p:nvSpPr>
        <p:spPr bwMode="auto">
          <a:xfrm>
            <a:off x="973933" y="1367221"/>
            <a:ext cx="10061620" cy="576064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b" anchorCtr="0" compatLnSpc="1">
            <a:prstTxWarp prst="textNoShape">
              <a:avLst/>
            </a:prstTxWarp>
          </a:bodyPr>
          <a:lstStyle/>
          <a:p>
            <a:r>
              <a:rPr lang="da-DK" sz="1600" dirty="0"/>
              <a:t>Projektet har indfriet alle de opsatte succeskriterier</a:t>
            </a:r>
          </a:p>
        </p:txBody>
      </p:sp>
      <p:sp>
        <p:nvSpPr>
          <p:cNvPr id="7" name="Tekstboks 11">
            <a:extLst>
              <a:ext uri="{FF2B5EF4-FFF2-40B4-BE49-F238E27FC236}">
                <a16:creationId xmlns:a16="http://schemas.microsoft.com/office/drawing/2014/main" id="{A3491359-5BA3-7E14-A4FC-F436874E3E37}"/>
              </a:ext>
            </a:extLst>
          </p:cNvPr>
          <p:cNvSpPr txBox="1"/>
          <p:nvPr/>
        </p:nvSpPr>
        <p:spPr>
          <a:xfrm>
            <a:off x="973933" y="5677829"/>
            <a:ext cx="72008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dirty="0"/>
              <a:t>Note: [ Angiv note ]</a:t>
            </a:r>
          </a:p>
        </p:txBody>
      </p:sp>
      <p:grpSp>
        <p:nvGrpSpPr>
          <p:cNvPr id="8" name="Gruppe 5">
            <a:extLst>
              <a:ext uri="{FF2B5EF4-FFF2-40B4-BE49-F238E27FC236}">
                <a16:creationId xmlns:a16="http://schemas.microsoft.com/office/drawing/2014/main" id="{DEC542BB-57C1-ED2D-4BDB-A3682F6A0D57}"/>
              </a:ext>
            </a:extLst>
          </p:cNvPr>
          <p:cNvGrpSpPr/>
          <p:nvPr/>
        </p:nvGrpSpPr>
        <p:grpSpPr>
          <a:xfrm>
            <a:off x="1032072" y="2074517"/>
            <a:ext cx="9961689" cy="660856"/>
            <a:chOff x="957732" y="2204126"/>
            <a:chExt cx="7271868" cy="660856"/>
          </a:xfrm>
        </p:grpSpPr>
        <p:sp>
          <p:nvSpPr>
            <p:cNvPr id="9" name="Rectangle 28">
              <a:extLst>
                <a:ext uri="{FF2B5EF4-FFF2-40B4-BE49-F238E27FC236}">
                  <a16:creationId xmlns:a16="http://schemas.microsoft.com/office/drawing/2014/main" id="{1C3D4C08-8C58-4342-C55B-F7E0128DB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7732" y="2204126"/>
              <a:ext cx="660895" cy="66085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4400" b="1" dirty="0">
                  <a:latin typeface="Wingdings" pitchFamily="2" charset="2"/>
                </a:rPr>
                <a:t>ü</a:t>
              </a:r>
              <a:endParaRPr lang="da-DK" b="1" dirty="0"/>
            </a:p>
          </p:txBody>
        </p:sp>
        <p:sp>
          <p:nvSpPr>
            <p:cNvPr id="10" name="Rectangle 28">
              <a:extLst>
                <a:ext uri="{FF2B5EF4-FFF2-40B4-BE49-F238E27FC236}">
                  <a16:creationId xmlns:a16="http://schemas.microsoft.com/office/drawing/2014/main" id="{B3B399E2-C05C-0A2C-4864-5BDF20579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8594" y="2204126"/>
              <a:ext cx="6321006" cy="6608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anchor="ctr"/>
            <a:lstStyle/>
            <a:p>
              <a:pPr lvl="0"/>
              <a:r>
                <a:rPr lang="da-DK" dirty="0">
                  <a:solidFill>
                    <a:srgbClr val="000000"/>
                  </a:solidFill>
                </a:rPr>
                <a:t>[ Indsæt succeskriterier fra projektets formål. Det må være på op til to linjer lang ]</a:t>
              </a:r>
            </a:p>
          </p:txBody>
        </p:sp>
      </p:grpSp>
      <p:grpSp>
        <p:nvGrpSpPr>
          <p:cNvPr id="11" name="Gruppe 53">
            <a:extLst>
              <a:ext uri="{FF2B5EF4-FFF2-40B4-BE49-F238E27FC236}">
                <a16:creationId xmlns:a16="http://schemas.microsoft.com/office/drawing/2014/main" id="{41C47D64-EAC4-69D8-3E30-78FC3159BBEA}"/>
              </a:ext>
            </a:extLst>
          </p:cNvPr>
          <p:cNvGrpSpPr/>
          <p:nvPr/>
        </p:nvGrpSpPr>
        <p:grpSpPr>
          <a:xfrm>
            <a:off x="1032072" y="3014882"/>
            <a:ext cx="9961689" cy="660856"/>
            <a:chOff x="957732" y="2204126"/>
            <a:chExt cx="7271868" cy="660856"/>
          </a:xfrm>
        </p:grpSpPr>
        <p:sp>
          <p:nvSpPr>
            <p:cNvPr id="12" name="Rectangle 28">
              <a:extLst>
                <a:ext uri="{FF2B5EF4-FFF2-40B4-BE49-F238E27FC236}">
                  <a16:creationId xmlns:a16="http://schemas.microsoft.com/office/drawing/2014/main" id="{1B665A0C-F1E7-F898-63A2-AA28C7126B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7732" y="2204126"/>
              <a:ext cx="660895" cy="66085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4400" b="1" dirty="0">
                  <a:latin typeface="Wingdings" pitchFamily="2" charset="2"/>
                </a:rPr>
                <a:t>ü</a:t>
              </a:r>
              <a:endParaRPr lang="da-DK" b="1" dirty="0"/>
            </a:p>
          </p:txBody>
        </p:sp>
        <p:sp>
          <p:nvSpPr>
            <p:cNvPr id="13" name="Rectangle 28">
              <a:extLst>
                <a:ext uri="{FF2B5EF4-FFF2-40B4-BE49-F238E27FC236}">
                  <a16:creationId xmlns:a16="http://schemas.microsoft.com/office/drawing/2014/main" id="{E47660EB-0007-18B1-7C2C-A112219D88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8594" y="2204126"/>
              <a:ext cx="6321006" cy="6608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anchor="ctr"/>
            <a:lstStyle/>
            <a:p>
              <a:pPr lvl="0"/>
              <a:r>
                <a:rPr lang="da-DK" dirty="0">
                  <a:solidFill>
                    <a:srgbClr val="000000"/>
                  </a:solidFill>
                </a:rPr>
                <a:t>[ Indsæt succeskriterier fra projektets formål. Det må være på op til to linjer lang ]</a:t>
              </a:r>
            </a:p>
          </p:txBody>
        </p:sp>
      </p:grpSp>
      <p:grpSp>
        <p:nvGrpSpPr>
          <p:cNvPr id="14" name="Gruppe 56">
            <a:extLst>
              <a:ext uri="{FF2B5EF4-FFF2-40B4-BE49-F238E27FC236}">
                <a16:creationId xmlns:a16="http://schemas.microsoft.com/office/drawing/2014/main" id="{CB1570CF-DD74-6976-2026-1F15A1A0D8F7}"/>
              </a:ext>
            </a:extLst>
          </p:cNvPr>
          <p:cNvGrpSpPr/>
          <p:nvPr/>
        </p:nvGrpSpPr>
        <p:grpSpPr>
          <a:xfrm>
            <a:off x="1032072" y="3955247"/>
            <a:ext cx="9961689" cy="660856"/>
            <a:chOff x="957732" y="2204126"/>
            <a:chExt cx="7271868" cy="660856"/>
          </a:xfrm>
        </p:grpSpPr>
        <p:sp>
          <p:nvSpPr>
            <p:cNvPr id="15" name="Rectangle 28">
              <a:extLst>
                <a:ext uri="{FF2B5EF4-FFF2-40B4-BE49-F238E27FC236}">
                  <a16:creationId xmlns:a16="http://schemas.microsoft.com/office/drawing/2014/main" id="{2A4C359D-D8D2-B295-5F64-E23E87563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7732" y="2204126"/>
              <a:ext cx="660895" cy="66085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4400" b="1" dirty="0">
                  <a:latin typeface="Wingdings" pitchFamily="2" charset="2"/>
                </a:rPr>
                <a:t>ü</a:t>
              </a:r>
              <a:endParaRPr lang="da-DK" b="1" dirty="0"/>
            </a:p>
          </p:txBody>
        </p:sp>
        <p:sp>
          <p:nvSpPr>
            <p:cNvPr id="16" name="Rectangle 28">
              <a:extLst>
                <a:ext uri="{FF2B5EF4-FFF2-40B4-BE49-F238E27FC236}">
                  <a16:creationId xmlns:a16="http://schemas.microsoft.com/office/drawing/2014/main" id="{963B0D2A-886B-6E85-3AF7-3EFDE416B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8594" y="2204126"/>
              <a:ext cx="6321006" cy="6608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anchor="ctr"/>
            <a:lstStyle/>
            <a:p>
              <a:pPr lvl="0"/>
              <a:r>
                <a:rPr lang="da-DK" dirty="0">
                  <a:solidFill>
                    <a:srgbClr val="000000"/>
                  </a:solidFill>
                </a:rPr>
                <a:t>[ Indsæt succeskriterier fra projektets formål. Det må være på op til to linjer lang ]</a:t>
              </a:r>
            </a:p>
          </p:txBody>
        </p:sp>
      </p:grpSp>
      <p:grpSp>
        <p:nvGrpSpPr>
          <p:cNvPr id="17" name="Gruppe 59">
            <a:extLst>
              <a:ext uri="{FF2B5EF4-FFF2-40B4-BE49-F238E27FC236}">
                <a16:creationId xmlns:a16="http://schemas.microsoft.com/office/drawing/2014/main" id="{C2830C53-FE1E-93FC-9F1C-26B3977B96AF}"/>
              </a:ext>
            </a:extLst>
          </p:cNvPr>
          <p:cNvGrpSpPr/>
          <p:nvPr/>
        </p:nvGrpSpPr>
        <p:grpSpPr>
          <a:xfrm>
            <a:off x="1032072" y="4895613"/>
            <a:ext cx="9961689" cy="660856"/>
            <a:chOff x="957732" y="2204126"/>
            <a:chExt cx="7271868" cy="660856"/>
          </a:xfrm>
        </p:grpSpPr>
        <p:sp>
          <p:nvSpPr>
            <p:cNvPr id="18" name="Rectangle 28">
              <a:extLst>
                <a:ext uri="{FF2B5EF4-FFF2-40B4-BE49-F238E27FC236}">
                  <a16:creationId xmlns:a16="http://schemas.microsoft.com/office/drawing/2014/main" id="{FE1EBCB8-8EBD-C762-9CA0-91F61C4F36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7732" y="2204126"/>
              <a:ext cx="660895" cy="66085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4400" b="1" dirty="0">
                  <a:latin typeface="Wingdings" pitchFamily="2" charset="2"/>
                </a:rPr>
                <a:t>ü</a:t>
              </a:r>
              <a:endParaRPr lang="da-DK" b="1" dirty="0"/>
            </a:p>
          </p:txBody>
        </p:sp>
        <p:sp>
          <p:nvSpPr>
            <p:cNvPr id="19" name="Rectangle 28">
              <a:extLst>
                <a:ext uri="{FF2B5EF4-FFF2-40B4-BE49-F238E27FC236}">
                  <a16:creationId xmlns:a16="http://schemas.microsoft.com/office/drawing/2014/main" id="{B669E6C7-B890-2429-7159-62F5C4897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8594" y="2204126"/>
              <a:ext cx="6321006" cy="6608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anchor="ctr"/>
            <a:lstStyle/>
            <a:p>
              <a:pPr lvl="0"/>
              <a:r>
                <a:rPr lang="da-DK" dirty="0">
                  <a:solidFill>
                    <a:srgbClr val="000000"/>
                  </a:solidFill>
                </a:rPr>
                <a:t>[ Indsæt succeskriterier fra projektets formål. Det må være på op til to linjer lang ]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122235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56A93BD-5E0A-A669-24B4-8618D4F62EB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097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6A93BD-5E0A-A669-24B4-8618D4F62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1C4106D-1328-FAA1-214F-9E9E0EA49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2. Udvikling i projektets primære </a:t>
            </a:r>
            <a:r>
              <a:rPr lang="da-DK" dirty="0" err="1"/>
              <a:t>KPI’er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128209-7FC5-6AE9-E075-04F4E64369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5</a:t>
            </a:fld>
            <a:endParaRPr lang="da-DK" dirty="0"/>
          </a:p>
        </p:txBody>
      </p:sp>
      <p:graphicFrame>
        <p:nvGraphicFramePr>
          <p:cNvPr id="10" name="Tabel 6">
            <a:extLst>
              <a:ext uri="{FF2B5EF4-FFF2-40B4-BE49-F238E27FC236}">
                <a16:creationId xmlns:a16="http://schemas.microsoft.com/office/drawing/2014/main" id="{0CC57F05-3F0F-24C0-A837-2021EA11A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2850902"/>
              </p:ext>
            </p:extLst>
          </p:nvPr>
        </p:nvGraphicFramePr>
        <p:xfrm>
          <a:off x="1005680" y="1243608"/>
          <a:ext cx="10529497" cy="45000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84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37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8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00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48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7488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008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7488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7488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3008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7488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7488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3008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7488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74887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endParaRPr lang="da-DK" sz="11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300" b="1" dirty="0"/>
                    </a:p>
                  </a:txBody>
                  <a:tcPr marL="0" marR="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10"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</a:txBody>
                  <a:tcPr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</a:txBody>
                  <a:tcPr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</a:txBody>
                  <a:tcPr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232">
                <a:tc gridSpan="2"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Projektspor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b="1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300" b="1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Q1 20XX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Q2 20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Q3</a:t>
                      </a:r>
                      <a:r>
                        <a:rPr lang="da-DK" sz="1000" b="1" baseline="0" dirty="0"/>
                        <a:t> 20XX</a:t>
                      </a:r>
                      <a:endParaRPr lang="da-DK" sz="1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Q4 20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7232">
                <a:tc>
                  <a:txBody>
                    <a:bodyPr/>
                    <a:lstStyle/>
                    <a:p>
                      <a:r>
                        <a:rPr lang="da-DK" sz="1100" b="1" dirty="0"/>
                        <a:t>#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Nav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3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 err="1"/>
                        <a:t>Actual</a:t>
                      </a:r>
                      <a:endParaRPr lang="da-DK" sz="10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Targ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V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 err="1"/>
                        <a:t>Actual</a:t>
                      </a:r>
                      <a:endParaRPr lang="da-DK" sz="1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Targ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V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 err="1"/>
                        <a:t>Actual</a:t>
                      </a:r>
                      <a:endParaRPr lang="da-DK" sz="1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Targ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V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 err="1"/>
                        <a:t>Actual</a:t>
                      </a:r>
                      <a:endParaRPr lang="da-DK" sz="1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Targ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V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000" b="1" dirty="0"/>
                        <a:t>1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[ Navn på projektspor ]</a:t>
                      </a:r>
                    </a:p>
                    <a:p>
                      <a:r>
                        <a:rPr lang="da-DK" sz="1000" dirty="0"/>
                        <a:t> - [ Navn på KPI ]</a:t>
                      </a:r>
                    </a:p>
                    <a:p>
                      <a:endParaRPr lang="da-DK" sz="1000" dirty="0"/>
                    </a:p>
                    <a:p>
                      <a:r>
                        <a:rPr lang="da-DK" sz="1000" dirty="0"/>
                        <a:t> - [ Navn på KPI ]</a:t>
                      </a:r>
                    </a:p>
                    <a:p>
                      <a:endParaRPr lang="da-DK" sz="10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000" b="1" dirty="0"/>
                        <a:t>2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[ Navn på projektspor ]</a:t>
                      </a:r>
                    </a:p>
                    <a:p>
                      <a:r>
                        <a:rPr lang="da-DK" sz="1000" dirty="0"/>
                        <a:t> - [ Navn på KPI ]</a:t>
                      </a:r>
                    </a:p>
                    <a:p>
                      <a:endParaRPr lang="da-DK" sz="1000" dirty="0"/>
                    </a:p>
                    <a:p>
                      <a:r>
                        <a:rPr lang="da-DK" sz="1000" dirty="0"/>
                        <a:t> - [ Navn på KPI ]</a:t>
                      </a:r>
                    </a:p>
                    <a:p>
                      <a:endParaRPr lang="da-DK" sz="10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000" b="1" dirty="0"/>
                        <a:t>3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[ Navn på projektspor ]</a:t>
                      </a:r>
                    </a:p>
                    <a:p>
                      <a:r>
                        <a:rPr lang="da-DK" sz="1000" dirty="0"/>
                        <a:t> - [ Navn på KPI ]</a:t>
                      </a:r>
                    </a:p>
                    <a:p>
                      <a:endParaRPr lang="da-DK" sz="1000" dirty="0"/>
                    </a:p>
                    <a:p>
                      <a:r>
                        <a:rPr lang="da-DK" sz="1000" dirty="0"/>
                        <a:t> - [ Navn på KPI ]</a:t>
                      </a:r>
                    </a:p>
                    <a:p>
                      <a:endParaRPr lang="da-DK" sz="10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000" b="1" dirty="0"/>
                        <a:t>4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[ Navn på projektspor ]</a:t>
                      </a:r>
                    </a:p>
                    <a:p>
                      <a:r>
                        <a:rPr lang="da-DK" sz="1000" dirty="0"/>
                        <a:t> - [ Navn på KPI ]</a:t>
                      </a:r>
                    </a:p>
                    <a:p>
                      <a:endParaRPr lang="da-DK" sz="1000" dirty="0"/>
                    </a:p>
                    <a:p>
                      <a:r>
                        <a:rPr lang="da-DK" sz="1000" dirty="0"/>
                        <a:t> - [ Navn på KPI ]</a:t>
                      </a:r>
                    </a:p>
                    <a:p>
                      <a:endParaRPr lang="da-DK" sz="10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  <a:p>
                      <a:pPr algn="ctr"/>
                      <a:endParaRPr lang="da-DK" sz="1000" b="1" dirty="0"/>
                    </a:p>
                    <a:p>
                      <a:pPr algn="ctr"/>
                      <a:r>
                        <a:rPr lang="da-DK" sz="1000" b="1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  <a:p>
                      <a:pPr algn="ctr"/>
                      <a:endParaRPr lang="da-DK" sz="1000" dirty="0"/>
                    </a:p>
                    <a:p>
                      <a:pPr algn="ctr"/>
                      <a:r>
                        <a:rPr lang="da-DK" sz="1000" dirty="0"/>
                        <a:t>[ XXX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2654">
                <a:tc gridSpan="13">
                  <a:txBody>
                    <a:bodyPr/>
                    <a:lstStyle/>
                    <a:p>
                      <a:r>
                        <a:rPr lang="da-DK" sz="1000" dirty="0"/>
                        <a:t>Noter: [ Indsæt noter ]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" name="Rektangel 5">
            <a:extLst>
              <a:ext uri="{FF2B5EF4-FFF2-40B4-BE49-F238E27FC236}">
                <a16:creationId xmlns:a16="http://schemas.microsoft.com/office/drawing/2014/main" id="{0B58D670-C06D-95D9-4869-DD1E66F548F6}"/>
              </a:ext>
            </a:extLst>
          </p:cNvPr>
          <p:cNvSpPr/>
          <p:nvPr/>
        </p:nvSpPr>
        <p:spPr bwMode="auto">
          <a:xfrm>
            <a:off x="7392144" y="0"/>
            <a:ext cx="3275856" cy="79208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a-DK" sz="1400" dirty="0" err="1">
                <a:solidFill>
                  <a:srgbClr val="4D0000"/>
                </a:solidFill>
              </a:rPr>
              <a:t>Actuals</a:t>
            </a:r>
            <a:r>
              <a:rPr lang="da-DK" sz="1400" dirty="0">
                <a:solidFill>
                  <a:srgbClr val="4D0000"/>
                </a:solidFill>
              </a:rPr>
              <a:t> tal farves grøn/rød alt efter status. Skriv n/a hvis tallet ikke findes.</a:t>
            </a:r>
          </a:p>
        </p:txBody>
      </p:sp>
    </p:spTree>
    <p:extLst>
      <p:ext uri="{BB962C8B-B14F-4D97-AF65-F5344CB8AC3E}">
        <p14:creationId xmlns:p14="http://schemas.microsoft.com/office/powerpoint/2010/main" val="2677751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A3EBD2-4A69-1849-C57D-DBFB0B2534F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7141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A3EBD2-4A69-1849-C57D-DBFB0B2534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015945-AE07-63FD-79AE-BC53A9447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3. Fremtidige driftsopgav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CF97AC-267D-1604-8328-5438CBBFD0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6</a:t>
            </a:fld>
            <a:endParaRPr lang="da-DK" dirty="0"/>
          </a:p>
        </p:txBody>
      </p:sp>
      <p:graphicFrame>
        <p:nvGraphicFramePr>
          <p:cNvPr id="5" name="Pladsholder til indhold 17">
            <a:extLst>
              <a:ext uri="{FF2B5EF4-FFF2-40B4-BE49-F238E27FC236}">
                <a16:creationId xmlns:a16="http://schemas.microsoft.com/office/drawing/2014/main" id="{53F3362C-2B15-8074-8173-526A960840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8550361"/>
              </p:ext>
            </p:extLst>
          </p:nvPr>
        </p:nvGraphicFramePr>
        <p:xfrm>
          <a:off x="1018722" y="1334762"/>
          <a:ext cx="10060955" cy="399688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07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3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57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3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860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3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86093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10222">
                <a:tc>
                  <a:txBody>
                    <a:bodyPr/>
                    <a:lstStyle/>
                    <a:p>
                      <a:r>
                        <a:rPr lang="da-DK" sz="1200" b="1" dirty="0"/>
                        <a:t>Navn på opgav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b="1" dirty="0"/>
                        <a:t>Formål med opgav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b="1" dirty="0"/>
                        <a:t>Beskrivelse af opgav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b="1" dirty="0"/>
                        <a:t>Ansvarlig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76"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7966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1050" dirty="0"/>
                        <a:t>[ navn</a:t>
                      </a:r>
                      <a:r>
                        <a:rPr lang="da-DK" sz="1050" baseline="0" dirty="0"/>
                        <a:t> på opgave ]</a:t>
                      </a:r>
                      <a:endParaRPr lang="da-DK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formålet med opgaven. Gerne hvilke </a:t>
                      </a:r>
                      <a:r>
                        <a:rPr lang="da-DK" sz="105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’er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n støtter op omkring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Beskriv 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gaven der skal løses i lidt flere detaljer </a:t>
                      </a: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organisation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og personen der har modtaget opgaven ]</a:t>
                      </a: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76"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476"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57966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1050" dirty="0"/>
                        <a:t>[ navn</a:t>
                      </a:r>
                      <a:r>
                        <a:rPr lang="da-DK" sz="1050" baseline="0" dirty="0"/>
                        <a:t> på opgave ]</a:t>
                      </a:r>
                      <a:endParaRPr lang="da-DK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formålet med opgaven. Gerne hvilke </a:t>
                      </a:r>
                      <a:r>
                        <a:rPr lang="da-DK" sz="105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’er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n støtter op omkring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Beskriv 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gaven der skal løses i lidt flere detaljer </a:t>
                      </a: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organisation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og personen der har modtaget opgaven ]</a:t>
                      </a: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476"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6476"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57966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1050" dirty="0"/>
                        <a:t>[ navn</a:t>
                      </a:r>
                      <a:r>
                        <a:rPr lang="da-DK" sz="1050" baseline="0" dirty="0"/>
                        <a:t> på opgave ]</a:t>
                      </a:r>
                      <a:endParaRPr lang="da-DK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formålet med opgaven. Gerne hvilke </a:t>
                      </a:r>
                      <a:r>
                        <a:rPr lang="da-DK" sz="105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’er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n støtter op omkring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Beskriv 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gaven der skal løses i lidt flere detaljer </a:t>
                      </a: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organisation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og personen der har modtaget opgaven ]</a:t>
                      </a: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6476"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6476"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657966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1050" dirty="0"/>
                        <a:t>[ navn</a:t>
                      </a:r>
                      <a:r>
                        <a:rPr lang="da-DK" sz="1050" baseline="0" dirty="0"/>
                        <a:t> på opgave ]</a:t>
                      </a:r>
                      <a:endParaRPr lang="da-DK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formålet med opgaven. Gerne hvilke </a:t>
                      </a:r>
                      <a:r>
                        <a:rPr lang="da-DK" sz="105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’er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n støtter op omkring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Beskriv 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gaven der skal løses i lidt flere detaljer </a:t>
                      </a: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organisation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og personen der har modtaget opgaven ]</a:t>
                      </a: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66476"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66476"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56519">
                <a:tc gridSpan="7">
                  <a:txBody>
                    <a:bodyPr/>
                    <a:lstStyle/>
                    <a:p>
                      <a:pPr marL="357188" marR="0" lvl="0" indent="-357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5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er: Den nævnte person under ”Ansvarlig” har kvitteret for opgaven. Afdelingen/Personen er fremadrettet ansvarlig for opgaven.</a:t>
                      </a:r>
                      <a:endParaRPr lang="da-DK" sz="1050" dirty="0"/>
                    </a:p>
                  </a:txBody>
                  <a:tcPr marL="36000" marR="3600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85044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28E581-03DC-9CFF-90E0-C125D0B8403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671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28E581-03DC-9CFF-90E0-C125D0B84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CE6D30-2AD6-F0BD-DB5A-08061EFDDE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4. Projektspor og væsentlige leveranc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647727-FC06-1ADF-F70F-20A9B2356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7</a:t>
            </a:fld>
            <a:endParaRPr lang="da-DK" dirty="0"/>
          </a:p>
        </p:txBody>
      </p:sp>
      <p:graphicFrame>
        <p:nvGraphicFramePr>
          <p:cNvPr id="5" name="Pladsholder til indhold 17">
            <a:extLst>
              <a:ext uri="{FF2B5EF4-FFF2-40B4-BE49-F238E27FC236}">
                <a16:creationId xmlns:a16="http://schemas.microsoft.com/office/drawing/2014/main" id="{239591D6-CB13-2D64-6E92-2E348E87A6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6380507"/>
              </p:ext>
            </p:extLst>
          </p:nvPr>
        </p:nvGraphicFramePr>
        <p:xfrm>
          <a:off x="920751" y="1312862"/>
          <a:ext cx="10796571" cy="480292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20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8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169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8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818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84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69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584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87544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09312">
                <a:tc>
                  <a:txBody>
                    <a:bodyPr/>
                    <a:lstStyle/>
                    <a:p>
                      <a:r>
                        <a:rPr lang="da-DK" sz="1100" b="1" dirty="0"/>
                        <a:t>#</a:t>
                      </a:r>
                    </a:p>
                  </a:txBody>
                  <a:tcPr anchor="b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1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100" b="1" dirty="0"/>
                        <a:t>Projektspor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1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100" b="1" dirty="0"/>
                        <a:t>Slutprodukter (væsentligste)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1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100" b="1" dirty="0"/>
                        <a:t>Statu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1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 b="1" dirty="0"/>
                        <a:t>Leveret til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281"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0477">
                <a:tc>
                  <a:txBody>
                    <a:bodyPr/>
                    <a:lstStyle/>
                    <a:p>
                      <a:pPr algn="ctr"/>
                      <a:r>
                        <a:rPr lang="da-DK" sz="10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1000" dirty="0"/>
                        <a:t>[ navn</a:t>
                      </a:r>
                      <a:r>
                        <a:rPr lang="da-DK" sz="1000" baseline="0" dirty="0"/>
                        <a:t> på spor ]</a:t>
                      </a:r>
                      <a:endParaRPr lang="da-DK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slutprodukter pr. spor ]</a:t>
                      </a:r>
                    </a:p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endParaRPr lang="da-DK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Gør dem så konkrete som muligt. Husk de skal støtte op under målsætningen for projektet . Maks 3-4 pr. spor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Afsluttet/</a:t>
                      </a:r>
                      <a:b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destår/Nedlagt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endParaRPr lang="da-DK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organisation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r har modtaget slutproduktet – angives pr. slutprodukt. Skal også indeholde navn på modtager der har kvitteret for modtagelsen </a:t>
                      </a: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281">
                <a:tc>
                  <a:txBody>
                    <a:bodyPr/>
                    <a:lstStyle/>
                    <a:p>
                      <a:endParaRPr lang="da-DK" sz="3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281">
                <a:tc>
                  <a:txBody>
                    <a:bodyPr/>
                    <a:lstStyle/>
                    <a:p>
                      <a:endParaRPr lang="da-DK" sz="3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04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1000" dirty="0"/>
                        <a:t>[ navn</a:t>
                      </a:r>
                      <a:r>
                        <a:rPr lang="da-DK" sz="1000" baseline="0" dirty="0"/>
                        <a:t> på spor ]</a:t>
                      </a:r>
                      <a:endParaRPr lang="da-DK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slutprodukter pr. spor ]</a:t>
                      </a:r>
                    </a:p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endParaRPr lang="da-DK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Gør dem så konkrete som muligt. Husk de skal støtte op under målsætningen for projektet . Maks 3-4 pr. spor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Afsluttet/</a:t>
                      </a:r>
                      <a:b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destår/Nedlagt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organisation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r har modtaget slutproduktet – angives pr. slutprodukt. Skal også indeholde navn på modtager der har kvitteret for modtagelsen </a:t>
                      </a: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281">
                <a:tc>
                  <a:txBody>
                    <a:bodyPr/>
                    <a:lstStyle/>
                    <a:p>
                      <a:endParaRPr lang="da-DK" sz="3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6281">
                <a:tc>
                  <a:txBody>
                    <a:bodyPr/>
                    <a:lstStyle/>
                    <a:p>
                      <a:endParaRPr lang="da-DK" sz="3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860477">
                <a:tc>
                  <a:txBody>
                    <a:bodyPr/>
                    <a:lstStyle/>
                    <a:p>
                      <a:pPr algn="ctr"/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1000" dirty="0"/>
                        <a:t>[ navn</a:t>
                      </a:r>
                      <a:r>
                        <a:rPr lang="da-DK" sz="1000" baseline="0" dirty="0"/>
                        <a:t> på spor ]</a:t>
                      </a:r>
                      <a:endParaRPr lang="da-DK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slutprodukter pr. spor ]</a:t>
                      </a:r>
                    </a:p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endParaRPr lang="da-DK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Gør dem så konkrete som muligt. Husk de skal støtte op under målsætningen for projektet . Maks 3-4 pr. spor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Afsluttet/</a:t>
                      </a:r>
                      <a:b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destår/Nedlagt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organisation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r har modtaget slutproduktet – angives pr. slutprodukt. Skal også indeholde navn på modtager der har kvitteret for modtagelsen </a:t>
                      </a: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6281">
                <a:tc>
                  <a:txBody>
                    <a:bodyPr/>
                    <a:lstStyle/>
                    <a:p>
                      <a:endParaRPr lang="da-DK" sz="3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6281">
                <a:tc>
                  <a:txBody>
                    <a:bodyPr/>
                    <a:lstStyle/>
                    <a:p>
                      <a:endParaRPr lang="da-DK" sz="3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60477">
                <a:tc>
                  <a:txBody>
                    <a:bodyPr/>
                    <a:lstStyle/>
                    <a:p>
                      <a:pPr algn="ctr"/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1000" dirty="0"/>
                        <a:t>[ navn</a:t>
                      </a:r>
                      <a:r>
                        <a:rPr lang="da-DK" sz="1000" baseline="0" dirty="0"/>
                        <a:t> på spor ]</a:t>
                      </a:r>
                      <a:endParaRPr lang="da-DK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slutprodukter pr. spor ]</a:t>
                      </a:r>
                    </a:p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endParaRPr lang="da-DK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Gør dem så konkrete som muligt. Husk de skal støtte op under målsætningen for projektet . Maks 3-4 pr. spor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Afsluttet/</a:t>
                      </a:r>
                      <a:b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destår/Nedlagt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organisation</a:t>
                      </a:r>
                      <a:r>
                        <a:rPr lang="da-DK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r har modtaget slutproduktet – angives pr. slutprodukt. Skal også indeholde navn på modtager der har kvitteret for modtagelsen </a:t>
                      </a:r>
                      <a:r>
                        <a:rPr lang="da-DK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662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3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66281"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3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55180">
                <a:tc gridSpan="9">
                  <a:txBody>
                    <a:bodyPr/>
                    <a:lstStyle/>
                    <a:p>
                      <a:pPr marL="357188" marR="0" lvl="0" indent="-357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er: Den nævnte person under ”Leveret til” har kvitteret for slutproduktet med den angivne status. Afdelingen/Personen er fremadrettet ansvarlig for de leverede slutprodukter.</a:t>
                      </a:r>
                      <a:endParaRPr lang="da-DK" sz="1000" dirty="0"/>
                    </a:p>
                  </a:txBody>
                  <a:tcPr marL="36000" marR="3600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63710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2AB308D9-CB74-B491-672F-DAF12CC24B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180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B308D9-CB74-B491-672F-DAF12CC24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A9EBAC-BB67-8CCF-5265-7CD356CA5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5. Oversigt over milepæle i projekte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3F87CE-2DBB-6BE9-260E-50AFC7C195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8</a:t>
            </a:fld>
            <a:endParaRPr lang="da-DK" dirty="0"/>
          </a:p>
        </p:txBody>
      </p:sp>
      <p:sp>
        <p:nvSpPr>
          <p:cNvPr id="4" name="Rektangel 9">
            <a:extLst>
              <a:ext uri="{FF2B5EF4-FFF2-40B4-BE49-F238E27FC236}">
                <a16:creationId xmlns:a16="http://schemas.microsoft.com/office/drawing/2014/main" id="{B322295C-F488-C711-3554-26E12440AD71}"/>
              </a:ext>
            </a:extLst>
          </p:cNvPr>
          <p:cNvSpPr/>
          <p:nvPr/>
        </p:nvSpPr>
        <p:spPr bwMode="auto">
          <a:xfrm>
            <a:off x="1016000" y="1698624"/>
            <a:ext cx="10160000" cy="2889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a-DK"/>
          </a:p>
        </p:txBody>
      </p:sp>
      <p:sp>
        <p:nvSpPr>
          <p:cNvPr id="5" name="Rektangel 8">
            <a:extLst>
              <a:ext uri="{FF2B5EF4-FFF2-40B4-BE49-F238E27FC236}">
                <a16:creationId xmlns:a16="http://schemas.microsoft.com/office/drawing/2014/main" id="{77C156F7-DCC8-2CC2-4339-EAAE7AF4E8C9}"/>
              </a:ext>
            </a:extLst>
          </p:cNvPr>
          <p:cNvSpPr/>
          <p:nvPr/>
        </p:nvSpPr>
        <p:spPr bwMode="auto">
          <a:xfrm>
            <a:off x="1016000" y="2862262"/>
            <a:ext cx="10160000" cy="290513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a-DK"/>
          </a:p>
        </p:txBody>
      </p:sp>
      <p:sp>
        <p:nvSpPr>
          <p:cNvPr id="6" name="Rektangel 7">
            <a:extLst>
              <a:ext uri="{FF2B5EF4-FFF2-40B4-BE49-F238E27FC236}">
                <a16:creationId xmlns:a16="http://schemas.microsoft.com/office/drawing/2014/main" id="{96476BBB-6496-1EB6-14B4-647F04B11EFC}"/>
              </a:ext>
            </a:extLst>
          </p:cNvPr>
          <p:cNvSpPr/>
          <p:nvPr/>
        </p:nvSpPr>
        <p:spPr bwMode="auto">
          <a:xfrm>
            <a:off x="1016000" y="3690937"/>
            <a:ext cx="10160000" cy="2889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a-DK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2FDF2EE8-CCDF-2817-247A-382CEB3A204D}"/>
              </a:ext>
            </a:extLst>
          </p:cNvPr>
          <p:cNvSpPr/>
          <p:nvPr/>
        </p:nvSpPr>
        <p:spPr bwMode="auto">
          <a:xfrm>
            <a:off x="1016000" y="4518024"/>
            <a:ext cx="10160000" cy="290513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a-DK"/>
          </a:p>
        </p:txBody>
      </p:sp>
      <p:sp>
        <p:nvSpPr>
          <p:cNvPr id="8" name="Rektangel 10">
            <a:extLst>
              <a:ext uri="{FF2B5EF4-FFF2-40B4-BE49-F238E27FC236}">
                <a16:creationId xmlns:a16="http://schemas.microsoft.com/office/drawing/2014/main" id="{4D778B72-B4EF-4D00-0AC1-DB31DD4602D8}"/>
              </a:ext>
            </a:extLst>
          </p:cNvPr>
          <p:cNvSpPr>
            <a:spLocks/>
          </p:cNvSpPr>
          <p:nvPr/>
        </p:nvSpPr>
        <p:spPr bwMode="auto">
          <a:xfrm>
            <a:off x="3897312" y="1285875"/>
            <a:ext cx="7278688" cy="2063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100" b="1" dirty="0">
                <a:solidFill>
                  <a:schemeClr val="tx1"/>
                </a:solidFill>
                <a:sym typeface="+mn-lt"/>
              </a:rPr>
              <a:t>20XX</a:t>
            </a:r>
          </a:p>
        </p:txBody>
      </p:sp>
      <p:sp>
        <p:nvSpPr>
          <p:cNvPr id="9" name="Rektangel 11">
            <a:extLst>
              <a:ext uri="{FF2B5EF4-FFF2-40B4-BE49-F238E27FC236}">
                <a16:creationId xmlns:a16="http://schemas.microsoft.com/office/drawing/2014/main" id="{576C1E9A-EDC8-3241-D7E2-E337D4D170ED}"/>
              </a:ext>
            </a:extLst>
          </p:cNvPr>
          <p:cNvSpPr>
            <a:spLocks/>
          </p:cNvSpPr>
          <p:nvPr/>
        </p:nvSpPr>
        <p:spPr bwMode="auto">
          <a:xfrm>
            <a:off x="3897312" y="1492249"/>
            <a:ext cx="1795463" cy="2063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2F097E8-2181-4FB6-9C42-B610875A8110}" type="datetime'''''''''''Q''''''''''''1'''''''''''''''''''''">
              <a:rPr lang="en-US" altLang="en-US" sz="1100" b="1" smtClean="0">
                <a:solidFill>
                  <a:schemeClr val="tx1"/>
                </a:solidFill>
                <a:effectLst/>
              </a:rPr>
              <a:pPr>
                <a:defRPr/>
              </a:pPr>
              <a:t>Q1</a:t>
            </a:fld>
            <a:endParaRPr lang="da-DK" sz="11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EB8C9DC6-5188-6E4C-5EED-A34FE77108B8}"/>
              </a:ext>
            </a:extLst>
          </p:cNvPr>
          <p:cNvSpPr>
            <a:spLocks/>
          </p:cNvSpPr>
          <p:nvPr/>
        </p:nvSpPr>
        <p:spPr bwMode="auto">
          <a:xfrm>
            <a:off x="5692775" y="1492249"/>
            <a:ext cx="1814513" cy="2063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EB0DCD1-2302-48AF-B3E7-9E4F6934C695}" type="datetime'''''Q''''''''''''''2'''''''''''''''''''''''''''''''''''''''">
              <a:rPr lang="en-US" altLang="en-US" sz="1100" b="1" smtClean="0">
                <a:solidFill>
                  <a:schemeClr val="tx1"/>
                </a:solidFill>
                <a:effectLst/>
              </a:rPr>
              <a:pPr>
                <a:defRPr/>
              </a:pPr>
              <a:t>Q2</a:t>
            </a:fld>
            <a:endParaRPr lang="da-DK" sz="11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ktangel 13">
            <a:extLst>
              <a:ext uri="{FF2B5EF4-FFF2-40B4-BE49-F238E27FC236}">
                <a16:creationId xmlns:a16="http://schemas.microsoft.com/office/drawing/2014/main" id="{C67EFC18-21E5-E556-FA88-5D102A9A96CF}"/>
              </a:ext>
            </a:extLst>
          </p:cNvPr>
          <p:cNvSpPr>
            <a:spLocks/>
          </p:cNvSpPr>
          <p:nvPr/>
        </p:nvSpPr>
        <p:spPr bwMode="auto">
          <a:xfrm>
            <a:off x="7507287" y="1492249"/>
            <a:ext cx="1833563" cy="2063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39858A2-46E6-40FD-AF03-7F420747A38D}" type="datetime'Q''3'''''''''''''''''''''">
              <a:rPr lang="en-US" altLang="en-US" sz="1100" b="1" smtClean="0">
                <a:solidFill>
                  <a:schemeClr val="tx1"/>
                </a:solidFill>
                <a:effectLst/>
              </a:rPr>
              <a:pPr>
                <a:defRPr/>
              </a:pPr>
              <a:t>Q3</a:t>
            </a:fld>
            <a:endParaRPr lang="da-DK" sz="11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ktangel 14">
            <a:extLst>
              <a:ext uri="{FF2B5EF4-FFF2-40B4-BE49-F238E27FC236}">
                <a16:creationId xmlns:a16="http://schemas.microsoft.com/office/drawing/2014/main" id="{55FFBEFA-1BCA-C170-FABD-3212FFB04139}"/>
              </a:ext>
            </a:extLst>
          </p:cNvPr>
          <p:cNvSpPr>
            <a:spLocks/>
          </p:cNvSpPr>
          <p:nvPr/>
        </p:nvSpPr>
        <p:spPr bwMode="auto">
          <a:xfrm>
            <a:off x="9340850" y="1492249"/>
            <a:ext cx="1835150" cy="2063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D498435-A759-46CB-B07E-67FF28C853BA}" type="datetime'Q''''''''''''''''''''''4'''''''">
              <a:rPr lang="en-US" altLang="en-US" sz="1100" b="1" smtClean="0">
                <a:solidFill>
                  <a:schemeClr val="tx1"/>
                </a:solidFill>
                <a:effectLst/>
              </a:rPr>
              <a:pPr>
                <a:defRPr/>
              </a:pPr>
              <a:t>Q4</a:t>
            </a:fld>
            <a:endParaRPr lang="da-DK" sz="1100" b="1" dirty="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86671E1-A8C5-310C-0861-2DFA5C1305B2}"/>
              </a:ext>
            </a:extLst>
          </p:cNvPr>
          <p:cNvCxnSpPr/>
          <p:nvPr/>
        </p:nvCxnSpPr>
        <p:spPr bwMode="auto">
          <a:xfrm flipH="1">
            <a:off x="3897312" y="1492249"/>
            <a:ext cx="7278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Lige forbindelse 19">
            <a:extLst>
              <a:ext uri="{FF2B5EF4-FFF2-40B4-BE49-F238E27FC236}">
                <a16:creationId xmlns:a16="http://schemas.microsoft.com/office/drawing/2014/main" id="{622316FC-6548-FCAE-50B8-61103C651AF4}"/>
              </a:ext>
            </a:extLst>
          </p:cNvPr>
          <p:cNvCxnSpPr/>
          <p:nvPr/>
        </p:nvCxnSpPr>
        <p:spPr bwMode="auto">
          <a:xfrm>
            <a:off x="10558462" y="1698624"/>
            <a:ext cx="0" cy="36480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Lige forbindelse 18">
            <a:extLst>
              <a:ext uri="{FF2B5EF4-FFF2-40B4-BE49-F238E27FC236}">
                <a16:creationId xmlns:a16="http://schemas.microsoft.com/office/drawing/2014/main" id="{B42C7B08-97F5-65DA-8E45-85829F6B3292}"/>
              </a:ext>
            </a:extLst>
          </p:cNvPr>
          <p:cNvCxnSpPr/>
          <p:nvPr/>
        </p:nvCxnSpPr>
        <p:spPr bwMode="auto">
          <a:xfrm>
            <a:off x="3897312" y="1698624"/>
            <a:ext cx="0" cy="36480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BD61E61-AB1A-C0A5-8996-E1394E92501F}"/>
              </a:ext>
            </a:extLst>
          </p:cNvPr>
          <p:cNvCxnSpPr/>
          <p:nvPr/>
        </p:nvCxnSpPr>
        <p:spPr bwMode="auto">
          <a:xfrm>
            <a:off x="11176000" y="1698624"/>
            <a:ext cx="0" cy="36480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Lige forbindelse 28">
            <a:extLst>
              <a:ext uri="{FF2B5EF4-FFF2-40B4-BE49-F238E27FC236}">
                <a16:creationId xmlns:a16="http://schemas.microsoft.com/office/drawing/2014/main" id="{0E2730C0-35CA-6DAC-1F97-80DDA54FBDAF}"/>
              </a:ext>
            </a:extLst>
          </p:cNvPr>
          <p:cNvCxnSpPr/>
          <p:nvPr/>
        </p:nvCxnSpPr>
        <p:spPr bwMode="auto">
          <a:xfrm>
            <a:off x="4514850" y="1698624"/>
            <a:ext cx="0" cy="36480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Lige forbindelse 27">
            <a:extLst>
              <a:ext uri="{FF2B5EF4-FFF2-40B4-BE49-F238E27FC236}">
                <a16:creationId xmlns:a16="http://schemas.microsoft.com/office/drawing/2014/main" id="{9262D129-27FF-CD16-3889-7BCEBF9ACCB9}"/>
              </a:ext>
            </a:extLst>
          </p:cNvPr>
          <p:cNvCxnSpPr/>
          <p:nvPr/>
        </p:nvCxnSpPr>
        <p:spPr bwMode="auto">
          <a:xfrm>
            <a:off x="5073650" y="1698624"/>
            <a:ext cx="0" cy="36480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Lige forbindelse 26">
            <a:extLst>
              <a:ext uri="{FF2B5EF4-FFF2-40B4-BE49-F238E27FC236}">
                <a16:creationId xmlns:a16="http://schemas.microsoft.com/office/drawing/2014/main" id="{BC475C8E-D700-3326-D442-2E7966CD8812}"/>
              </a:ext>
            </a:extLst>
          </p:cNvPr>
          <p:cNvCxnSpPr/>
          <p:nvPr/>
        </p:nvCxnSpPr>
        <p:spPr bwMode="auto">
          <a:xfrm>
            <a:off x="5692775" y="1698624"/>
            <a:ext cx="0" cy="36480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Lige forbindelse 25">
            <a:extLst>
              <a:ext uri="{FF2B5EF4-FFF2-40B4-BE49-F238E27FC236}">
                <a16:creationId xmlns:a16="http://schemas.microsoft.com/office/drawing/2014/main" id="{D54B9D7F-B2B4-33FD-D7DF-0DB011EF2400}"/>
              </a:ext>
            </a:extLst>
          </p:cNvPr>
          <p:cNvCxnSpPr/>
          <p:nvPr/>
        </p:nvCxnSpPr>
        <p:spPr bwMode="auto">
          <a:xfrm>
            <a:off x="6289675" y="1698624"/>
            <a:ext cx="0" cy="36480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Lige forbindelse 24">
            <a:extLst>
              <a:ext uri="{FF2B5EF4-FFF2-40B4-BE49-F238E27FC236}">
                <a16:creationId xmlns:a16="http://schemas.microsoft.com/office/drawing/2014/main" id="{CC1C5553-C38D-6244-9C65-C3205FD79C99}"/>
              </a:ext>
            </a:extLst>
          </p:cNvPr>
          <p:cNvCxnSpPr/>
          <p:nvPr/>
        </p:nvCxnSpPr>
        <p:spPr bwMode="auto">
          <a:xfrm>
            <a:off x="6908800" y="1698624"/>
            <a:ext cx="0" cy="36480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Lige forbindelse 23">
            <a:extLst>
              <a:ext uri="{FF2B5EF4-FFF2-40B4-BE49-F238E27FC236}">
                <a16:creationId xmlns:a16="http://schemas.microsoft.com/office/drawing/2014/main" id="{2689FF57-CA3D-10F4-86CE-0D5E66882BCE}"/>
              </a:ext>
            </a:extLst>
          </p:cNvPr>
          <p:cNvCxnSpPr/>
          <p:nvPr/>
        </p:nvCxnSpPr>
        <p:spPr bwMode="auto">
          <a:xfrm>
            <a:off x="8124825" y="1698624"/>
            <a:ext cx="0" cy="36480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C478B680-90FD-497D-C68D-9D8A2068446F}"/>
              </a:ext>
            </a:extLst>
          </p:cNvPr>
          <p:cNvCxnSpPr/>
          <p:nvPr/>
        </p:nvCxnSpPr>
        <p:spPr bwMode="auto">
          <a:xfrm>
            <a:off x="8742362" y="1698624"/>
            <a:ext cx="0" cy="36480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Lige forbindelse 21">
            <a:extLst>
              <a:ext uri="{FF2B5EF4-FFF2-40B4-BE49-F238E27FC236}">
                <a16:creationId xmlns:a16="http://schemas.microsoft.com/office/drawing/2014/main" id="{EE1031E0-466D-B970-8F94-D75A7FA47034}"/>
              </a:ext>
            </a:extLst>
          </p:cNvPr>
          <p:cNvCxnSpPr/>
          <p:nvPr/>
        </p:nvCxnSpPr>
        <p:spPr bwMode="auto">
          <a:xfrm>
            <a:off x="9340850" y="1698624"/>
            <a:ext cx="0" cy="36480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Lige forbindelse 15">
            <a:extLst>
              <a:ext uri="{FF2B5EF4-FFF2-40B4-BE49-F238E27FC236}">
                <a16:creationId xmlns:a16="http://schemas.microsoft.com/office/drawing/2014/main" id="{5A25E754-141C-DF31-8A7E-82CF8E0B767A}"/>
              </a:ext>
            </a:extLst>
          </p:cNvPr>
          <p:cNvCxnSpPr/>
          <p:nvPr/>
        </p:nvCxnSpPr>
        <p:spPr bwMode="auto">
          <a:xfrm>
            <a:off x="7507287" y="1698624"/>
            <a:ext cx="0" cy="36480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Lige forbindelse 20">
            <a:extLst>
              <a:ext uri="{FF2B5EF4-FFF2-40B4-BE49-F238E27FC236}">
                <a16:creationId xmlns:a16="http://schemas.microsoft.com/office/drawing/2014/main" id="{4E2C4166-6C7A-94C6-1E47-E7FC30CD4FE4}"/>
              </a:ext>
            </a:extLst>
          </p:cNvPr>
          <p:cNvCxnSpPr/>
          <p:nvPr/>
        </p:nvCxnSpPr>
        <p:spPr bwMode="auto">
          <a:xfrm>
            <a:off x="9959975" y="1698624"/>
            <a:ext cx="0" cy="36480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Lige forbindelse 30">
            <a:extLst>
              <a:ext uri="{FF2B5EF4-FFF2-40B4-BE49-F238E27FC236}">
                <a16:creationId xmlns:a16="http://schemas.microsoft.com/office/drawing/2014/main" id="{1B89B25D-69C6-B743-3954-C5E3BCE082C8}"/>
              </a:ext>
            </a:extLst>
          </p:cNvPr>
          <p:cNvCxnSpPr/>
          <p:nvPr/>
        </p:nvCxnSpPr>
        <p:spPr bwMode="auto">
          <a:xfrm>
            <a:off x="1016000" y="2862262"/>
            <a:ext cx="101600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31">
            <a:extLst>
              <a:ext uri="{FF2B5EF4-FFF2-40B4-BE49-F238E27FC236}">
                <a16:creationId xmlns:a16="http://schemas.microsoft.com/office/drawing/2014/main" id="{486AE079-940B-7248-1CA2-824CD24205F4}"/>
              </a:ext>
            </a:extLst>
          </p:cNvPr>
          <p:cNvCxnSpPr/>
          <p:nvPr/>
        </p:nvCxnSpPr>
        <p:spPr bwMode="auto">
          <a:xfrm>
            <a:off x="1016000" y="3690937"/>
            <a:ext cx="101600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ge forbindelse 32">
            <a:extLst>
              <a:ext uri="{FF2B5EF4-FFF2-40B4-BE49-F238E27FC236}">
                <a16:creationId xmlns:a16="http://schemas.microsoft.com/office/drawing/2014/main" id="{18F8A96F-FB81-7833-7D78-DA0CE640CF80}"/>
              </a:ext>
            </a:extLst>
          </p:cNvPr>
          <p:cNvCxnSpPr/>
          <p:nvPr/>
        </p:nvCxnSpPr>
        <p:spPr bwMode="auto">
          <a:xfrm>
            <a:off x="1016000" y="4518024"/>
            <a:ext cx="101600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forbindelse 29">
            <a:extLst>
              <a:ext uri="{FF2B5EF4-FFF2-40B4-BE49-F238E27FC236}">
                <a16:creationId xmlns:a16="http://schemas.microsoft.com/office/drawing/2014/main" id="{8D86D376-9A00-7373-DF49-1F5CDCE3F606}"/>
              </a:ext>
            </a:extLst>
          </p:cNvPr>
          <p:cNvCxnSpPr/>
          <p:nvPr/>
        </p:nvCxnSpPr>
        <p:spPr bwMode="auto">
          <a:xfrm>
            <a:off x="1016000" y="5346699"/>
            <a:ext cx="101600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ge forbindelse 33">
            <a:extLst>
              <a:ext uri="{FF2B5EF4-FFF2-40B4-BE49-F238E27FC236}">
                <a16:creationId xmlns:a16="http://schemas.microsoft.com/office/drawing/2014/main" id="{9B43223C-1461-F840-6F53-6B7E6219B54A}"/>
              </a:ext>
            </a:extLst>
          </p:cNvPr>
          <p:cNvCxnSpPr/>
          <p:nvPr/>
        </p:nvCxnSpPr>
        <p:spPr bwMode="auto">
          <a:xfrm>
            <a:off x="1016000" y="1698624"/>
            <a:ext cx="101600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7BFCB192-8D54-41FD-93B2-8AE80ABE7410}"/>
              </a:ext>
            </a:extLst>
          </p:cNvPr>
          <p:cNvSpPr/>
          <p:nvPr/>
        </p:nvSpPr>
        <p:spPr bwMode="gray">
          <a:xfrm>
            <a:off x="4457700" y="2068512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EF151CE1-D7AF-9A17-BE31-15094D68832C}"/>
              </a:ext>
            </a:extLst>
          </p:cNvPr>
          <p:cNvSpPr/>
          <p:nvPr/>
        </p:nvSpPr>
        <p:spPr bwMode="gray">
          <a:xfrm>
            <a:off x="6053137" y="2654299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CB35EE25-2D21-793B-97BF-E7AC084BA8EA}"/>
              </a:ext>
            </a:extLst>
          </p:cNvPr>
          <p:cNvSpPr/>
          <p:nvPr/>
        </p:nvSpPr>
        <p:spPr bwMode="gray">
          <a:xfrm>
            <a:off x="4438650" y="3233737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392C64A3-FCF4-93F2-D666-69BDD8B210E0}"/>
              </a:ext>
            </a:extLst>
          </p:cNvPr>
          <p:cNvSpPr/>
          <p:nvPr/>
        </p:nvSpPr>
        <p:spPr bwMode="gray">
          <a:xfrm>
            <a:off x="5913437" y="4060824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001D31D5-C136-C0EA-BDFA-A8D874308BD0}"/>
              </a:ext>
            </a:extLst>
          </p:cNvPr>
          <p:cNvSpPr/>
          <p:nvPr/>
        </p:nvSpPr>
        <p:spPr bwMode="gray">
          <a:xfrm>
            <a:off x="7729537" y="4310062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1DEED675-6BCE-620D-5459-26AC7EE72BF7}"/>
              </a:ext>
            </a:extLst>
          </p:cNvPr>
          <p:cNvSpPr/>
          <p:nvPr/>
        </p:nvSpPr>
        <p:spPr bwMode="gray">
          <a:xfrm>
            <a:off x="4657725" y="4889499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E94B6D67-2616-C581-3F2A-100423BCB4B0}"/>
              </a:ext>
            </a:extLst>
          </p:cNvPr>
          <p:cNvSpPr/>
          <p:nvPr/>
        </p:nvSpPr>
        <p:spPr bwMode="gray">
          <a:xfrm>
            <a:off x="8985250" y="5138737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809103A7-825D-B98F-B9BC-5174BBBA2583}"/>
              </a:ext>
            </a:extLst>
          </p:cNvPr>
          <p:cNvSpPr/>
          <p:nvPr/>
        </p:nvSpPr>
        <p:spPr bwMode="gray">
          <a:xfrm>
            <a:off x="5216525" y="3482974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40" name="Rektangel 50">
            <a:extLst>
              <a:ext uri="{FF2B5EF4-FFF2-40B4-BE49-F238E27FC236}">
                <a16:creationId xmlns:a16="http://schemas.microsoft.com/office/drawing/2014/main" id="{7F59EB44-F15B-6B7C-8C04-A86893648510}"/>
              </a:ext>
            </a:extLst>
          </p:cNvPr>
          <p:cNvSpPr>
            <a:spLocks/>
          </p:cNvSpPr>
          <p:nvPr/>
        </p:nvSpPr>
        <p:spPr bwMode="auto">
          <a:xfrm>
            <a:off x="1071562" y="5449887"/>
            <a:ext cx="1181100" cy="12223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t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800" dirty="0" err="1">
                <a:solidFill>
                  <a:schemeClr val="tx1"/>
                </a:solidFill>
              </a:rPr>
              <a:t>Noter</a:t>
            </a:r>
            <a:r>
              <a:rPr lang="en-US" sz="800" dirty="0">
                <a:solidFill>
                  <a:schemeClr val="tx1"/>
                </a:solidFill>
              </a:rPr>
              <a:t>: [ </a:t>
            </a:r>
            <a:r>
              <a:rPr lang="en-US" sz="800" dirty="0" err="1">
                <a:solidFill>
                  <a:schemeClr val="tx1"/>
                </a:solidFill>
              </a:rPr>
              <a:t>indsæt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noter</a:t>
            </a:r>
            <a:r>
              <a:rPr lang="en-US" sz="800" dirty="0">
                <a:solidFill>
                  <a:schemeClr val="tx1"/>
                </a:solidFill>
              </a:rPr>
              <a:t> ]</a:t>
            </a:r>
            <a:endParaRPr lang="da-DK" sz="800" dirty="0">
              <a:solidFill>
                <a:schemeClr val="tx1"/>
              </a:solidFill>
              <a:latin typeface="Verdana"/>
              <a:sym typeface="Verdana"/>
            </a:endParaRPr>
          </a:p>
        </p:txBody>
      </p:sp>
      <p:sp>
        <p:nvSpPr>
          <p:cNvPr id="41" name="Rektangel 48">
            <a:extLst>
              <a:ext uri="{FF2B5EF4-FFF2-40B4-BE49-F238E27FC236}">
                <a16:creationId xmlns:a16="http://schemas.microsoft.com/office/drawing/2014/main" id="{F8190918-C52C-4590-79FA-4184412A24F3}"/>
              </a:ext>
            </a:extLst>
          </p:cNvPr>
          <p:cNvSpPr/>
          <p:nvPr/>
        </p:nvSpPr>
        <p:spPr bwMode="auto">
          <a:xfrm>
            <a:off x="1071562" y="1758949"/>
            <a:ext cx="9398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>
              <a:defRPr/>
            </a:pPr>
            <a:r>
              <a:rPr lang="da-DK" sz="1100" dirty="0"/>
              <a:t>Projektspor 1</a:t>
            </a:r>
          </a:p>
        </p:txBody>
      </p:sp>
      <p:sp>
        <p:nvSpPr>
          <p:cNvPr id="42" name="Rektangel 49">
            <a:extLst>
              <a:ext uri="{FF2B5EF4-FFF2-40B4-BE49-F238E27FC236}">
                <a16:creationId xmlns:a16="http://schemas.microsoft.com/office/drawing/2014/main" id="{0B4B0B4D-5731-2091-3B56-1928991E8D5F}"/>
              </a:ext>
            </a:extLst>
          </p:cNvPr>
          <p:cNvSpPr>
            <a:spLocks/>
          </p:cNvSpPr>
          <p:nvPr/>
        </p:nvSpPr>
        <p:spPr bwMode="auto">
          <a:xfrm>
            <a:off x="1071562" y="2047874"/>
            <a:ext cx="2770188" cy="5048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100" dirty="0" err="1">
                <a:solidFill>
                  <a:schemeClr val="tx1"/>
                </a:solidFill>
              </a:rPr>
              <a:t>Milepæl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er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typisk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vigtig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beslutninger</a:t>
            </a:r>
            <a:r>
              <a:rPr lang="en-US" sz="1100" dirty="0">
                <a:solidFill>
                  <a:schemeClr val="tx1"/>
                </a:solidFill>
              </a:rPr>
              <a:t>,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leveranc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af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slutprodukter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eller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andr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en-US" sz="1100" dirty="0" err="1">
                <a:solidFill>
                  <a:schemeClr val="tx1"/>
                </a:solidFill>
              </a:rPr>
              <a:t>kritiske</a:t>
            </a:r>
            <a:r>
              <a:rPr lang="en-US" sz="1100" dirty="0">
                <a:solidFill>
                  <a:schemeClr val="tx1"/>
                </a:solidFill>
              </a:rPr>
              <a:t> deadlines</a:t>
            </a:r>
            <a:endParaRPr lang="da-DK" sz="1100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43" name="Rektangel 52">
            <a:extLst>
              <a:ext uri="{FF2B5EF4-FFF2-40B4-BE49-F238E27FC236}">
                <a16:creationId xmlns:a16="http://schemas.microsoft.com/office/drawing/2014/main" id="{D1C11A78-07EB-5A52-09B3-32464697C1D2}"/>
              </a:ext>
            </a:extLst>
          </p:cNvPr>
          <p:cNvSpPr>
            <a:spLocks/>
          </p:cNvSpPr>
          <p:nvPr/>
        </p:nvSpPr>
        <p:spPr bwMode="auto">
          <a:xfrm>
            <a:off x="1071562" y="2633662"/>
            <a:ext cx="53498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100" dirty="0" err="1">
                <a:solidFill>
                  <a:schemeClr val="tx1"/>
                </a:solidFill>
              </a:rPr>
              <a:t>Milepæl</a:t>
            </a:r>
            <a:endParaRPr lang="da-DK" sz="1100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44" name="Rektangel 53">
            <a:extLst>
              <a:ext uri="{FF2B5EF4-FFF2-40B4-BE49-F238E27FC236}">
                <a16:creationId xmlns:a16="http://schemas.microsoft.com/office/drawing/2014/main" id="{0571E556-7A1F-A369-5AA2-95464339D667}"/>
              </a:ext>
            </a:extLst>
          </p:cNvPr>
          <p:cNvSpPr>
            <a:spLocks/>
          </p:cNvSpPr>
          <p:nvPr/>
        </p:nvSpPr>
        <p:spPr bwMode="auto">
          <a:xfrm>
            <a:off x="1071562" y="2924174"/>
            <a:ext cx="82232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>
              <a:defRPr/>
            </a:pPr>
            <a:r>
              <a:rPr lang="da-DK" sz="1100" dirty="0">
                <a:latin typeface="Arial" charset="0"/>
              </a:rPr>
              <a:t>Projektspor 2</a:t>
            </a:r>
          </a:p>
        </p:txBody>
      </p:sp>
      <p:sp>
        <p:nvSpPr>
          <p:cNvPr id="45" name="Rektangel 51">
            <a:extLst>
              <a:ext uri="{FF2B5EF4-FFF2-40B4-BE49-F238E27FC236}">
                <a16:creationId xmlns:a16="http://schemas.microsoft.com/office/drawing/2014/main" id="{A70F109A-568D-0144-FE5E-E0E6E761974D}"/>
              </a:ext>
            </a:extLst>
          </p:cNvPr>
          <p:cNvSpPr>
            <a:spLocks/>
          </p:cNvSpPr>
          <p:nvPr/>
        </p:nvSpPr>
        <p:spPr bwMode="auto">
          <a:xfrm>
            <a:off x="1071562" y="3213099"/>
            <a:ext cx="53498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100" dirty="0" err="1">
                <a:solidFill>
                  <a:schemeClr val="tx1"/>
                </a:solidFill>
              </a:rPr>
              <a:t>Milepæl</a:t>
            </a:r>
            <a:endParaRPr lang="da-DK" sz="1100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46" name="Rektangel 54">
            <a:extLst>
              <a:ext uri="{FF2B5EF4-FFF2-40B4-BE49-F238E27FC236}">
                <a16:creationId xmlns:a16="http://schemas.microsoft.com/office/drawing/2014/main" id="{A2850D86-0FE1-0F27-90EC-58CED38A2513}"/>
              </a:ext>
            </a:extLst>
          </p:cNvPr>
          <p:cNvSpPr>
            <a:spLocks/>
          </p:cNvSpPr>
          <p:nvPr/>
        </p:nvSpPr>
        <p:spPr bwMode="auto">
          <a:xfrm>
            <a:off x="1071562" y="3462337"/>
            <a:ext cx="53498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100" dirty="0">
                <a:solidFill>
                  <a:schemeClr val="tx1"/>
                </a:solidFill>
                <a:sym typeface="+mn-lt"/>
              </a:rPr>
              <a:t>Milepæl</a:t>
            </a:r>
          </a:p>
        </p:txBody>
      </p:sp>
      <p:sp>
        <p:nvSpPr>
          <p:cNvPr id="47" name="Rektangel 55">
            <a:extLst>
              <a:ext uri="{FF2B5EF4-FFF2-40B4-BE49-F238E27FC236}">
                <a16:creationId xmlns:a16="http://schemas.microsoft.com/office/drawing/2014/main" id="{67BF34A8-C6E2-05F8-0398-20B709629ED1}"/>
              </a:ext>
            </a:extLst>
          </p:cNvPr>
          <p:cNvSpPr>
            <a:spLocks/>
          </p:cNvSpPr>
          <p:nvPr/>
        </p:nvSpPr>
        <p:spPr bwMode="auto">
          <a:xfrm>
            <a:off x="1071562" y="3751262"/>
            <a:ext cx="9398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100" dirty="0"/>
              <a:t>Projektspor 3</a:t>
            </a:r>
          </a:p>
        </p:txBody>
      </p:sp>
      <p:sp>
        <p:nvSpPr>
          <p:cNvPr id="48" name="Rektangel 42">
            <a:extLst>
              <a:ext uri="{FF2B5EF4-FFF2-40B4-BE49-F238E27FC236}">
                <a16:creationId xmlns:a16="http://schemas.microsoft.com/office/drawing/2014/main" id="{C4198502-05FE-1754-82C0-42FCD24D6524}"/>
              </a:ext>
            </a:extLst>
          </p:cNvPr>
          <p:cNvSpPr>
            <a:spLocks/>
          </p:cNvSpPr>
          <p:nvPr/>
        </p:nvSpPr>
        <p:spPr bwMode="auto">
          <a:xfrm>
            <a:off x="1071562" y="4040187"/>
            <a:ext cx="53498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100" dirty="0">
                <a:solidFill>
                  <a:schemeClr val="tx1"/>
                </a:solidFill>
                <a:sym typeface="+mn-lt"/>
              </a:rPr>
              <a:t>Milepæl</a:t>
            </a:r>
          </a:p>
        </p:txBody>
      </p:sp>
      <p:sp>
        <p:nvSpPr>
          <p:cNvPr id="49" name="Rektangel 44">
            <a:extLst>
              <a:ext uri="{FF2B5EF4-FFF2-40B4-BE49-F238E27FC236}">
                <a16:creationId xmlns:a16="http://schemas.microsoft.com/office/drawing/2014/main" id="{7D054217-A9A1-C082-6C17-05A97EC9CFAD}"/>
              </a:ext>
            </a:extLst>
          </p:cNvPr>
          <p:cNvSpPr>
            <a:spLocks/>
          </p:cNvSpPr>
          <p:nvPr/>
        </p:nvSpPr>
        <p:spPr bwMode="auto">
          <a:xfrm>
            <a:off x="1071562" y="4579937"/>
            <a:ext cx="82232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>
              <a:defRPr/>
            </a:pPr>
            <a:r>
              <a:rPr lang="da-DK" sz="1100" dirty="0">
                <a:latin typeface="Arial" charset="0"/>
              </a:rPr>
              <a:t>Projektspor 4</a:t>
            </a:r>
            <a:endParaRPr lang="da-DK" sz="1100" dirty="0"/>
          </a:p>
        </p:txBody>
      </p:sp>
      <p:sp>
        <p:nvSpPr>
          <p:cNvPr id="50" name="Rektangel 45">
            <a:extLst>
              <a:ext uri="{FF2B5EF4-FFF2-40B4-BE49-F238E27FC236}">
                <a16:creationId xmlns:a16="http://schemas.microsoft.com/office/drawing/2014/main" id="{7884E4C1-B11B-0291-B543-2D7759D1D01C}"/>
              </a:ext>
            </a:extLst>
          </p:cNvPr>
          <p:cNvSpPr>
            <a:spLocks/>
          </p:cNvSpPr>
          <p:nvPr/>
        </p:nvSpPr>
        <p:spPr bwMode="auto">
          <a:xfrm>
            <a:off x="1071562" y="4868862"/>
            <a:ext cx="53498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100" dirty="0">
                <a:solidFill>
                  <a:schemeClr val="tx1"/>
                </a:solidFill>
                <a:sym typeface="+mn-lt"/>
              </a:rPr>
              <a:t>Milepæl</a:t>
            </a:r>
          </a:p>
        </p:txBody>
      </p:sp>
      <p:sp>
        <p:nvSpPr>
          <p:cNvPr id="51" name="Rektangel 47">
            <a:extLst>
              <a:ext uri="{FF2B5EF4-FFF2-40B4-BE49-F238E27FC236}">
                <a16:creationId xmlns:a16="http://schemas.microsoft.com/office/drawing/2014/main" id="{E50AEAD2-EA63-1131-9293-9A399BF66918}"/>
              </a:ext>
            </a:extLst>
          </p:cNvPr>
          <p:cNvSpPr/>
          <p:nvPr/>
        </p:nvSpPr>
        <p:spPr bwMode="auto">
          <a:xfrm>
            <a:off x="1071562" y="1511299"/>
            <a:ext cx="4762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b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100" b="1" dirty="0">
                <a:solidFill>
                  <a:schemeClr val="tx1"/>
                </a:solidFill>
              </a:rPr>
              <a:t> </a:t>
            </a:r>
            <a:endParaRPr lang="da-DK" sz="11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Rektangel 43">
            <a:extLst>
              <a:ext uri="{FF2B5EF4-FFF2-40B4-BE49-F238E27FC236}">
                <a16:creationId xmlns:a16="http://schemas.microsoft.com/office/drawing/2014/main" id="{6E5207EF-F017-704D-DB69-5AE662D30F53}"/>
              </a:ext>
            </a:extLst>
          </p:cNvPr>
          <p:cNvSpPr>
            <a:spLocks/>
          </p:cNvSpPr>
          <p:nvPr/>
        </p:nvSpPr>
        <p:spPr bwMode="auto">
          <a:xfrm>
            <a:off x="1071562" y="4289424"/>
            <a:ext cx="53498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100" dirty="0">
                <a:solidFill>
                  <a:schemeClr val="tx1"/>
                </a:solidFill>
                <a:sym typeface="+mn-lt"/>
              </a:rPr>
              <a:t>Milepæl</a:t>
            </a:r>
          </a:p>
        </p:txBody>
      </p:sp>
      <p:sp>
        <p:nvSpPr>
          <p:cNvPr id="53" name="Rektangel 46">
            <a:extLst>
              <a:ext uri="{FF2B5EF4-FFF2-40B4-BE49-F238E27FC236}">
                <a16:creationId xmlns:a16="http://schemas.microsoft.com/office/drawing/2014/main" id="{DA94C1B1-963F-D14D-CFBE-E8BFBCF2AB65}"/>
              </a:ext>
            </a:extLst>
          </p:cNvPr>
          <p:cNvSpPr>
            <a:spLocks/>
          </p:cNvSpPr>
          <p:nvPr/>
        </p:nvSpPr>
        <p:spPr bwMode="auto">
          <a:xfrm>
            <a:off x="1071562" y="5118099"/>
            <a:ext cx="53498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100" dirty="0">
                <a:solidFill>
                  <a:schemeClr val="tx1"/>
                </a:solidFill>
                <a:sym typeface="+mn-lt"/>
              </a:rPr>
              <a:t>Milepæl</a:t>
            </a:r>
          </a:p>
        </p:txBody>
      </p:sp>
      <p:sp>
        <p:nvSpPr>
          <p:cNvPr id="55" name="Rektangel 58">
            <a:extLst>
              <a:ext uri="{FF2B5EF4-FFF2-40B4-BE49-F238E27FC236}">
                <a16:creationId xmlns:a16="http://schemas.microsoft.com/office/drawing/2014/main" id="{241C3F89-FF2A-C2AE-A38A-8413383CA8F5}"/>
              </a:ext>
            </a:extLst>
          </p:cNvPr>
          <p:cNvSpPr/>
          <p:nvPr/>
        </p:nvSpPr>
        <p:spPr bwMode="auto">
          <a:xfrm>
            <a:off x="7392144" y="0"/>
            <a:ext cx="3275856" cy="79208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a-DK" sz="1400" dirty="0">
                <a:solidFill>
                  <a:srgbClr val="4D0000"/>
                </a:solidFill>
              </a:rPr>
              <a:t>Udfyldes med de faktiske milepæle og IKKE de planlagte</a:t>
            </a:r>
          </a:p>
        </p:txBody>
      </p:sp>
    </p:spTree>
    <p:extLst>
      <p:ext uri="{BB962C8B-B14F-4D97-AF65-F5344CB8AC3E}">
        <p14:creationId xmlns:p14="http://schemas.microsoft.com/office/powerpoint/2010/main" val="21465938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CE8D7E6-BF97-6442-056B-8DAF478E6ED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55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8D7E6-BF97-6442-056B-8DAF478E6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8AE8B1-604D-42C6-068A-5ECF84BC5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6. Oversigt over udeståender og ansvarli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2EFBCF-8D13-EFBF-6CF6-E874914B2C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9</a:t>
            </a:fld>
            <a:endParaRPr lang="da-DK" dirty="0"/>
          </a:p>
        </p:txBody>
      </p:sp>
      <p:graphicFrame>
        <p:nvGraphicFramePr>
          <p:cNvPr id="5" name="Pladsholder til indhold 17">
            <a:extLst>
              <a:ext uri="{FF2B5EF4-FFF2-40B4-BE49-F238E27FC236}">
                <a16:creationId xmlns:a16="http://schemas.microsoft.com/office/drawing/2014/main" id="{3BFDAF41-7355-5654-9383-6F52542B5D9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6883353"/>
              </p:ext>
            </p:extLst>
          </p:nvPr>
        </p:nvGraphicFramePr>
        <p:xfrm>
          <a:off x="1022029" y="1458993"/>
          <a:ext cx="10517930" cy="44093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44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3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674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3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7816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3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0959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33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80123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86120">
                <a:tc>
                  <a:txBody>
                    <a:bodyPr/>
                    <a:lstStyle/>
                    <a:p>
                      <a:r>
                        <a:rPr lang="da-DK" sz="1200" b="1" dirty="0"/>
                        <a:t>#</a:t>
                      </a:r>
                    </a:p>
                  </a:txBody>
                  <a:tcPr anchor="b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b="1" dirty="0"/>
                        <a:t>Projektspor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b="1" dirty="0"/>
                        <a:t>Udeståend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b="1" dirty="0"/>
                        <a:t>Statu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b="1" dirty="0"/>
                        <a:t>Ansvarlig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740"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05752">
                <a:tc>
                  <a:txBody>
                    <a:bodyPr/>
                    <a:lstStyle/>
                    <a:p>
                      <a:pPr algn="ctr"/>
                      <a:r>
                        <a:rPr lang="da-DK" sz="105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1050" dirty="0"/>
                        <a:t>[ navn</a:t>
                      </a:r>
                      <a:r>
                        <a:rPr lang="da-DK" sz="1050" baseline="0" dirty="0"/>
                        <a:t> på spor ]</a:t>
                      </a:r>
                      <a:endParaRPr lang="da-DK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udeståender pr. spor. Gør dem så konkrete som muligt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kort status på det enkelte udestående</a:t>
                      </a: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Angiv ansvarlig organisation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g navn for alle udeståender </a:t>
                      </a: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740"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740"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821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5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dirty="0"/>
                        <a:t>[ navn</a:t>
                      </a:r>
                      <a:r>
                        <a:rPr lang="da-DK" sz="1050" baseline="0" dirty="0"/>
                        <a:t> på spor ]</a:t>
                      </a:r>
                      <a:endParaRPr lang="da-DK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udeståender pr. spor. Gør dem så konkrete som muligt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status ]</a:t>
                      </a: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å ansvarlig]</a:t>
                      </a: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2740"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2740"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68210">
                <a:tc>
                  <a:txBody>
                    <a:bodyPr/>
                    <a:lstStyle/>
                    <a:p>
                      <a:pPr algn="ctr"/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5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dirty="0"/>
                        <a:t>[ navn</a:t>
                      </a:r>
                      <a:r>
                        <a:rPr lang="da-DK" sz="1050" baseline="0" dirty="0"/>
                        <a:t> på spor ]</a:t>
                      </a:r>
                      <a:endParaRPr lang="da-DK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udeståender pr. spor. Gør dem så konkrete som muligt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status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ansvarlig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82740"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82740"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568210">
                <a:tc>
                  <a:txBody>
                    <a:bodyPr/>
                    <a:lstStyle/>
                    <a:p>
                      <a:pPr algn="ctr"/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>
                    <a:lnR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5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dirty="0"/>
                        <a:t>[ navn</a:t>
                      </a:r>
                      <a:r>
                        <a:rPr lang="da-DK" sz="1050" baseline="0" dirty="0"/>
                        <a:t> på spor ]</a:t>
                      </a:r>
                      <a:endParaRPr lang="da-DK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skriv udeståender pr. spor. Gør dem så konkrete som muligt ]</a:t>
                      </a:r>
                    </a:p>
                  </a:txBody>
                  <a:tcPr marL="54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status ]</a:t>
                      </a:r>
                    </a:p>
                  </a:txBody>
                  <a:tcPr marL="36000" marR="0" marT="4680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ansvarlig</a:t>
                      </a:r>
                      <a:r>
                        <a:rPr lang="da-DK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827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4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2740"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568210">
                <a:tc gridSpan="9">
                  <a:txBody>
                    <a:bodyPr/>
                    <a:lstStyle/>
                    <a:p>
                      <a:pPr marL="357188" marR="0" lvl="0" indent="-357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5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er:</a:t>
                      </a:r>
                      <a:endParaRPr lang="da-DK" sz="1050" dirty="0"/>
                    </a:p>
                  </a:txBody>
                  <a:tcPr marL="36000" marR="3600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58762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ableOfContents TableOfContentsShowsSubsections AgendaSlides SectionNumber SlideNumber"/>
  <p:tag name="THINKCELLUNDODONOTDELETE" val="0"/>
  <p:tag name="THINKCELLPRESENTATIONDONOTDELETE" val="&lt;?xml version=&quot;1.0&quot; encoding=&quot;UTF-16&quot; standalone=&quot;yes&quot;?&gt;&lt;root reqver=&quot;32687&quot;&gt;&lt;version val=&quot;38700&quot;/&gt;&lt;CPresentation id=&quot;1&quot;&gt;&lt;m_precDefaultOrdinal&gt;&lt;m_yearfmt&gt;&lt;begin val=&quot;0&quot;/&gt;&lt;end val=&quot;4&quot;/&gt;&lt;/m_yearfmt&gt;&lt;/m_precDefaultOrdinal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5cUha_SmeQ6Hwn09lN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r8geu246_v0W_DWubV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tzZi5ibRNoKQyy4OCk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b8o562aJVCp6.PvRnN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d99tOOtodBELw5zzN2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meO_dPv4doD_J2rVs7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jaHNy1NSJjUuhO867YE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dA2TnhUtOZQBMHk19u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5ror5r9kkjx7tqTmLlL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ppt/theme/theme2.xml><?xml version="1.0" encoding="utf-8"?>
<a:theme xmlns:a="http://schemas.openxmlformats.org/drawingml/2006/main" name="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C4A9974D-ACA6-469A-947C-CED5CE1CB709}">
  <we:reference id="wa200010001" version="1.0.0.1" store="en-US" storeType="OMEX"/>
  <we:alternateReferences>
    <we:reference id="wa200010001" version="1.0.0.1" store="" storeType="OMEX"/>
  </we:alternateReferences>
  <we:properties>
    <we:property name="claude.fileId" value="&quot;c4b8f474-570c-4291-8b59-8edc5a9644bc&quot;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Content</Template>
  <TotalTime>763</TotalTime>
  <Words>2310</Words>
  <Application>Microsoft Office PowerPoint</Application>
  <PresentationFormat>Widescreen</PresentationFormat>
  <Paragraphs>605</Paragraphs>
  <Slides>17</Slides>
  <Notes>1</Notes>
  <HiddenSlides>6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[ virksomhed ]</vt:lpstr>
      <vt:lpstr>Arial</vt:lpstr>
      <vt:lpstr>Calibri</vt:lpstr>
      <vt:lpstr>Verdana</vt:lpstr>
      <vt:lpstr>Wingdings</vt:lpstr>
      <vt:lpstr>struktureretsundfornuft-dk</vt:lpstr>
      <vt:lpstr>struktureretsundfornuft-dk</vt:lpstr>
      <vt:lpstr>think-cell Slide</vt:lpstr>
      <vt:lpstr>[ Projektnavn ]</vt:lpstr>
      <vt:lpstr>About This Template</vt:lpstr>
      <vt:lpstr>INDHOLD</vt:lpstr>
      <vt:lpstr>1. Vurdering af succeskriterier</vt:lpstr>
      <vt:lpstr>2. Udvikling i projektets primære KPI’er</vt:lpstr>
      <vt:lpstr>3. Fremtidige driftsopgaver</vt:lpstr>
      <vt:lpstr>4. Projektspor og væsentlige leverancer</vt:lpstr>
      <vt:lpstr>5. Oversigt over milepæle i projektet</vt:lpstr>
      <vt:lpstr>6. Oversigt over udeståender og ansvarlige</vt:lpstr>
      <vt:lpstr>7. Væsentlig læring til fremtidige projekter</vt:lpstr>
      <vt:lpstr>Projektafslutning - Bilag</vt:lpstr>
      <vt:lpstr>Formål for [ Projektnavn ]</vt:lpstr>
      <vt:lpstr>Business Case Light</vt:lpstr>
      <vt:lpstr>[ KPI definition – skriv navn som overskrift ]</vt:lpstr>
      <vt:lpstr>Interessenter</vt:lpstr>
      <vt:lpstr>Projektidé: [ Navn på idé ]</vt:lpstr>
      <vt:lpstr>Eksempel på slutprodukt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n Bleeker Pedersen</dc:creator>
  <cp:lastModifiedBy>Dann Bleeker Pedersen</cp:lastModifiedBy>
  <cp:revision>3</cp:revision>
  <dcterms:created xsi:type="dcterms:W3CDTF">2019-03-29T08:31:38Z</dcterms:created>
  <dcterms:modified xsi:type="dcterms:W3CDTF">2026-07-11T20:10:11Z</dcterms:modified>
</cp:coreProperties>
</file>